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7.xml" ContentType="application/vnd.openxmlformats-officedocument.presentationml.tags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Ex2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74.xml" ContentType="application/vnd.openxmlformats-officedocument.presentationml.tags+xml"/>
  <Override PartName="/ppt/charts/chartEx3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4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</p:sldMasterIdLst>
  <p:sldIdLst>
    <p:sldId id="7335" r:id="rId5"/>
    <p:sldId id="7329" r:id="rId6"/>
    <p:sldId id="7333" r:id="rId7"/>
    <p:sldId id="7334" r:id="rId8"/>
    <p:sldId id="7331" r:id="rId9"/>
    <p:sldId id="7332" r:id="rId10"/>
    <p:sldId id="257" r:id="rId11"/>
    <p:sldId id="7330" r:id="rId12"/>
  </p:sldIdLst>
  <p:sldSz cx="9906000" cy="6858000" type="A4"/>
  <p:notesSz cx="6858000" cy="91440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B19183-0D00-42BB-9D68-0C157ABE533B}" v="310" vWet="322" dt="2021-03-08T14:13:38.814"/>
    <p1510:client id="{2A660E2D-CD4C-439C-955B-BDD952B126F0}" v="25594" dt="2021-03-08T15:01:58.4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go MANTEL" userId="2d5b7065-31bb-4181-a7f8-a73bf0c30211" providerId="ADAL" clId="{2A660E2D-CD4C-439C-955B-BDD952B126F0}"/>
    <pc:docChg chg="undo custSel addSld modSld sldOrd modMainMaster">
      <pc:chgData name="Ugo MANTEL" userId="2d5b7065-31bb-4181-a7f8-a73bf0c30211" providerId="ADAL" clId="{2A660E2D-CD4C-439C-955B-BDD952B126F0}" dt="2021-03-08T15:01:57.886" v="36061" actId="14100"/>
      <pc:docMkLst>
        <pc:docMk/>
      </pc:docMkLst>
      <pc:sldChg chg="ord">
        <pc:chgData name="Ugo MANTEL" userId="2d5b7065-31bb-4181-a7f8-a73bf0c30211" providerId="ADAL" clId="{2A660E2D-CD4C-439C-955B-BDD952B126F0}" dt="2021-03-08T13:59:10.490" v="31247"/>
        <pc:sldMkLst>
          <pc:docMk/>
          <pc:sldMk cId="359112561" sldId="257"/>
        </pc:sldMkLst>
      </pc:sldChg>
      <pc:sldChg chg="delSp modSp mod">
        <pc:chgData name="Ugo MANTEL" userId="2d5b7065-31bb-4181-a7f8-a73bf0c30211" providerId="ADAL" clId="{2A660E2D-CD4C-439C-955B-BDD952B126F0}" dt="2021-03-08T10:08:16.120" v="21533" actId="20577"/>
        <pc:sldMkLst>
          <pc:docMk/>
          <pc:sldMk cId="2652814762" sldId="7329"/>
        </pc:sldMkLst>
        <pc:spChg chg="mod">
          <ac:chgData name="Ugo MANTEL" userId="2d5b7065-31bb-4181-a7f8-a73bf0c30211" providerId="ADAL" clId="{2A660E2D-CD4C-439C-955B-BDD952B126F0}" dt="2021-03-08T10:08:16.120" v="21533" actId="20577"/>
          <ac:spMkLst>
            <pc:docMk/>
            <pc:sldMk cId="2652814762" sldId="7329"/>
            <ac:spMk id="34" creationId="{E4C834B3-8C96-4B4D-A3B2-401C953956D3}"/>
          </ac:spMkLst>
        </pc:spChg>
        <pc:spChg chg="mod topLvl">
          <ac:chgData name="Ugo MANTEL" userId="2d5b7065-31bb-4181-a7f8-a73bf0c30211" providerId="ADAL" clId="{2A660E2D-CD4C-439C-955B-BDD952B126F0}" dt="2021-03-08T09:32:28.867" v="3561" actId="165"/>
          <ac:spMkLst>
            <pc:docMk/>
            <pc:sldMk cId="2652814762" sldId="7329"/>
            <ac:spMk id="117" creationId="{9BC0B343-DC1A-496C-A41B-EDEF84CFACED}"/>
          </ac:spMkLst>
        </pc:spChg>
        <pc:spChg chg="mod topLvl">
          <ac:chgData name="Ugo MANTEL" userId="2d5b7065-31bb-4181-a7f8-a73bf0c30211" providerId="ADAL" clId="{2A660E2D-CD4C-439C-955B-BDD952B126F0}" dt="2021-03-08T09:32:28.867" v="3561" actId="165"/>
          <ac:spMkLst>
            <pc:docMk/>
            <pc:sldMk cId="2652814762" sldId="7329"/>
            <ac:spMk id="118" creationId="{7AC68D76-10A7-4544-A8E9-5C8DAF647A27}"/>
          </ac:spMkLst>
        </pc:spChg>
        <pc:spChg chg="mod topLvl">
          <ac:chgData name="Ugo MANTEL" userId="2d5b7065-31bb-4181-a7f8-a73bf0c30211" providerId="ADAL" clId="{2A660E2D-CD4C-439C-955B-BDD952B126F0}" dt="2021-03-08T09:32:28.867" v="3561" actId="165"/>
          <ac:spMkLst>
            <pc:docMk/>
            <pc:sldMk cId="2652814762" sldId="7329"/>
            <ac:spMk id="119" creationId="{26886C10-A68C-418D-9588-30FDBBCEA9D5}"/>
          </ac:spMkLst>
        </pc:spChg>
        <pc:spChg chg="mod topLvl">
          <ac:chgData name="Ugo MANTEL" userId="2d5b7065-31bb-4181-a7f8-a73bf0c30211" providerId="ADAL" clId="{2A660E2D-CD4C-439C-955B-BDD952B126F0}" dt="2021-03-08T09:32:28.867" v="3561" actId="165"/>
          <ac:spMkLst>
            <pc:docMk/>
            <pc:sldMk cId="2652814762" sldId="7329"/>
            <ac:spMk id="120" creationId="{CCB67412-0A92-4AE4-9E48-9F7AB70B6108}"/>
          </ac:spMkLst>
        </pc:spChg>
        <pc:spChg chg="mod topLvl">
          <ac:chgData name="Ugo MANTEL" userId="2d5b7065-31bb-4181-a7f8-a73bf0c30211" providerId="ADAL" clId="{2A660E2D-CD4C-439C-955B-BDD952B126F0}" dt="2021-03-08T09:32:28.867" v="3561" actId="165"/>
          <ac:spMkLst>
            <pc:docMk/>
            <pc:sldMk cId="2652814762" sldId="7329"/>
            <ac:spMk id="128" creationId="{9DBE7F3F-C910-41F1-BBED-7E0860D6AA4D}"/>
          </ac:spMkLst>
        </pc:spChg>
        <pc:grpChg chg="del">
          <ac:chgData name="Ugo MANTEL" userId="2d5b7065-31bb-4181-a7f8-a73bf0c30211" providerId="ADAL" clId="{2A660E2D-CD4C-439C-955B-BDD952B126F0}" dt="2021-03-08T09:32:28.867" v="3561" actId="165"/>
          <ac:grpSpMkLst>
            <pc:docMk/>
            <pc:sldMk cId="2652814762" sldId="7329"/>
            <ac:grpSpMk id="116" creationId="{723CAF34-41C6-4C6B-8896-27FF6F9A3304}"/>
          </ac:grpSpMkLst>
        </pc:grp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1" creationId="{8655F89D-9AD6-4297-90D8-3D40E265A29E}"/>
          </ac:picMkLst>
        </pc:pic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2" creationId="{DF384A9F-8332-4772-9053-E851542BFCFE}"/>
          </ac:picMkLst>
        </pc:pic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3" creationId="{320A9A77-CE65-438F-A7F0-059E046A29EF}"/>
          </ac:picMkLst>
        </pc:pic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4" creationId="{5511732F-91F4-46A5-B93F-04DBF86AD8B1}"/>
          </ac:picMkLst>
        </pc:pic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5" creationId="{14FD1DCE-B0B7-45E1-95FC-14D25038F028}"/>
          </ac:picMkLst>
        </pc:pic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6" creationId="{5D817D25-AF54-4FAE-BCFB-7E643A28102D}"/>
          </ac:picMkLst>
        </pc:picChg>
        <pc:picChg chg="mod topLvl">
          <ac:chgData name="Ugo MANTEL" userId="2d5b7065-31bb-4181-a7f8-a73bf0c30211" providerId="ADAL" clId="{2A660E2D-CD4C-439C-955B-BDD952B126F0}" dt="2021-03-08T09:32:28.867" v="3561" actId="165"/>
          <ac:picMkLst>
            <pc:docMk/>
            <pc:sldMk cId="2652814762" sldId="7329"/>
            <ac:picMk id="127" creationId="{297FBE2B-0E9F-4E8C-B3C6-5C1B509820B8}"/>
          </ac:picMkLst>
        </pc:picChg>
      </pc:sldChg>
      <pc:sldChg chg="addSp delSp modSp mod modTransition modShow">
        <pc:chgData name="Ugo MANTEL" userId="2d5b7065-31bb-4181-a7f8-a73bf0c30211" providerId="ADAL" clId="{2A660E2D-CD4C-439C-955B-BDD952B126F0}" dt="2021-03-08T13:59:00.986" v="31240" actId="20577"/>
        <pc:sldMkLst>
          <pc:docMk/>
          <pc:sldMk cId="3150485618" sldId="7331"/>
        </pc:sldMkLst>
        <pc:spChg chg="mod">
          <ac:chgData name="Ugo MANTEL" userId="2d5b7065-31bb-4181-a7f8-a73bf0c30211" providerId="ADAL" clId="{2A660E2D-CD4C-439C-955B-BDD952B126F0}" dt="2021-03-08T10:10:46.637" v="23727"/>
          <ac:spMkLst>
            <pc:docMk/>
            <pc:sldMk cId="3150485618" sldId="7331"/>
            <ac:spMk id="2" creationId="{64576B3F-3BF3-47ED-8392-95410BFB7165}"/>
          </ac:spMkLst>
        </pc:spChg>
        <pc:spChg chg="add del mod modVis">
          <ac:chgData name="Ugo MANTEL" userId="2d5b7065-31bb-4181-a7f8-a73bf0c30211" providerId="ADAL" clId="{2A660E2D-CD4C-439C-955B-BDD952B126F0}" dt="2021-03-08T10:08:22.306" v="21574"/>
          <ac:spMkLst>
            <pc:docMk/>
            <pc:sldMk cId="3150485618" sldId="7331"/>
            <ac:spMk id="4" creationId="{DF4B2D3C-516E-4D6F-8E69-8A630E224C24}"/>
          </ac:spMkLst>
        </pc:spChg>
        <pc:spChg chg="add del mod modVis">
          <ac:chgData name="Ugo MANTEL" userId="2d5b7065-31bb-4181-a7f8-a73bf0c30211" providerId="ADAL" clId="{2A660E2D-CD4C-439C-955B-BDD952B126F0}" dt="2021-03-08T10:08:25.127" v="21627"/>
          <ac:spMkLst>
            <pc:docMk/>
            <pc:sldMk cId="3150485618" sldId="7331"/>
            <ac:spMk id="5" creationId="{E1EEA948-C30C-471B-85FB-A582455DE455}"/>
          </ac:spMkLst>
        </pc:spChg>
        <pc:spChg chg="add del mod modVis">
          <ac:chgData name="Ugo MANTEL" userId="2d5b7065-31bb-4181-a7f8-a73bf0c30211" providerId="ADAL" clId="{2A660E2D-CD4C-439C-955B-BDD952B126F0}" dt="2021-03-08T10:08:26.374" v="21673"/>
          <ac:spMkLst>
            <pc:docMk/>
            <pc:sldMk cId="3150485618" sldId="7331"/>
            <ac:spMk id="13" creationId="{77E690D9-70EB-4FC3-9374-780B783D87C0}"/>
          </ac:spMkLst>
        </pc:spChg>
        <pc:spChg chg="add del mod modVis">
          <ac:chgData name="Ugo MANTEL" userId="2d5b7065-31bb-4181-a7f8-a73bf0c30211" providerId="ADAL" clId="{2A660E2D-CD4C-439C-955B-BDD952B126F0}" dt="2021-03-08T10:08:28.584" v="21726"/>
          <ac:spMkLst>
            <pc:docMk/>
            <pc:sldMk cId="3150485618" sldId="7331"/>
            <ac:spMk id="14" creationId="{887C2B03-45E3-4CD7-B3E3-AE0747A687E6}"/>
          </ac:spMkLst>
        </pc:spChg>
        <pc:spChg chg="add del mod modVis">
          <ac:chgData name="Ugo MANTEL" userId="2d5b7065-31bb-4181-a7f8-a73bf0c30211" providerId="ADAL" clId="{2A660E2D-CD4C-439C-955B-BDD952B126F0}" dt="2021-03-08T10:08:29.925" v="21770"/>
          <ac:spMkLst>
            <pc:docMk/>
            <pc:sldMk cId="3150485618" sldId="7331"/>
            <ac:spMk id="15" creationId="{04BDFC0A-C807-4935-AFA1-F1A0364DE48C}"/>
          </ac:spMkLst>
        </pc:spChg>
        <pc:spChg chg="add del mod modVis">
          <ac:chgData name="Ugo MANTEL" userId="2d5b7065-31bb-4181-a7f8-a73bf0c30211" providerId="ADAL" clId="{2A660E2D-CD4C-439C-955B-BDD952B126F0}" dt="2021-03-08T10:08:34.183" v="21833"/>
          <ac:spMkLst>
            <pc:docMk/>
            <pc:sldMk cId="3150485618" sldId="7331"/>
            <ac:spMk id="16" creationId="{67E4DAF0-42D3-47D5-9FF7-DDD9EB8726B8}"/>
          </ac:spMkLst>
        </pc:spChg>
        <pc:spChg chg="add del mod modVis">
          <ac:chgData name="Ugo MANTEL" userId="2d5b7065-31bb-4181-a7f8-a73bf0c30211" providerId="ADAL" clId="{2A660E2D-CD4C-439C-955B-BDD952B126F0}" dt="2021-03-08T10:08:34.810" v="21874"/>
          <ac:spMkLst>
            <pc:docMk/>
            <pc:sldMk cId="3150485618" sldId="7331"/>
            <ac:spMk id="17" creationId="{E59887DC-8164-40B6-BE9B-2C37B4960263}"/>
          </ac:spMkLst>
        </pc:spChg>
        <pc:spChg chg="add del mod modVis">
          <ac:chgData name="Ugo MANTEL" userId="2d5b7065-31bb-4181-a7f8-a73bf0c30211" providerId="ADAL" clId="{2A660E2D-CD4C-439C-955B-BDD952B126F0}" dt="2021-03-08T10:08:38.877" v="21924"/>
          <ac:spMkLst>
            <pc:docMk/>
            <pc:sldMk cId="3150485618" sldId="7331"/>
            <ac:spMk id="18" creationId="{E0D8241A-515F-45B1-ADEB-1155CDE87E59}"/>
          </ac:spMkLst>
        </pc:spChg>
        <pc:spChg chg="add del mod modVis">
          <ac:chgData name="Ugo MANTEL" userId="2d5b7065-31bb-4181-a7f8-a73bf0c30211" providerId="ADAL" clId="{2A660E2D-CD4C-439C-955B-BDD952B126F0}" dt="2021-03-08T10:08:39.621" v="21965"/>
          <ac:spMkLst>
            <pc:docMk/>
            <pc:sldMk cId="3150485618" sldId="7331"/>
            <ac:spMk id="19" creationId="{20356FAD-2924-4D05-A4B4-C9C80CA689DA}"/>
          </ac:spMkLst>
        </pc:spChg>
        <pc:spChg chg="add del mod modVis">
          <ac:chgData name="Ugo MANTEL" userId="2d5b7065-31bb-4181-a7f8-a73bf0c30211" providerId="ADAL" clId="{2A660E2D-CD4C-439C-955B-BDD952B126F0}" dt="2021-03-08T10:08:44.384" v="22020"/>
          <ac:spMkLst>
            <pc:docMk/>
            <pc:sldMk cId="3150485618" sldId="7331"/>
            <ac:spMk id="20" creationId="{6EC383C6-2F05-4AAD-9BF2-5472B1A2FF3E}"/>
          </ac:spMkLst>
        </pc:spChg>
        <pc:spChg chg="mod">
          <ac:chgData name="Ugo MANTEL" userId="2d5b7065-31bb-4181-a7f8-a73bf0c30211" providerId="ADAL" clId="{2A660E2D-CD4C-439C-955B-BDD952B126F0}" dt="2021-03-08T13:57:39.761" v="31228" actId="20577"/>
          <ac:spMkLst>
            <pc:docMk/>
            <pc:sldMk cId="3150485618" sldId="7331"/>
            <ac:spMk id="27" creationId="{3D60F54E-E0B3-4D5A-9146-8B3E9297DA9A}"/>
          </ac:spMkLst>
        </pc:spChg>
        <pc:spChg chg="add del mod modVis">
          <ac:chgData name="Ugo MANTEL" userId="2d5b7065-31bb-4181-a7f8-a73bf0c30211" providerId="ADAL" clId="{2A660E2D-CD4C-439C-955B-BDD952B126F0}" dt="2021-03-08T10:08:48.583" v="22070"/>
          <ac:spMkLst>
            <pc:docMk/>
            <pc:sldMk cId="3150485618" sldId="7331"/>
            <ac:spMk id="29" creationId="{9DE6DF0C-CE50-470F-9564-96A6B21587D2}"/>
          </ac:spMkLst>
        </pc:spChg>
        <pc:spChg chg="add del mod modVis">
          <ac:chgData name="Ugo MANTEL" userId="2d5b7065-31bb-4181-a7f8-a73bf0c30211" providerId="ADAL" clId="{2A660E2D-CD4C-439C-955B-BDD952B126F0}" dt="2021-03-08T10:08:51.820" v="22125"/>
          <ac:spMkLst>
            <pc:docMk/>
            <pc:sldMk cId="3150485618" sldId="7331"/>
            <ac:spMk id="32" creationId="{76CECBB1-CF75-487A-830C-CC75F76BE404}"/>
          </ac:spMkLst>
        </pc:spChg>
        <pc:spChg chg="add del mod modVis">
          <ac:chgData name="Ugo MANTEL" userId="2d5b7065-31bb-4181-a7f8-a73bf0c30211" providerId="ADAL" clId="{2A660E2D-CD4C-439C-955B-BDD952B126F0}" dt="2021-03-08T10:08:55.706" v="22166"/>
          <ac:spMkLst>
            <pc:docMk/>
            <pc:sldMk cId="3150485618" sldId="7331"/>
            <ac:spMk id="33" creationId="{2CB81784-13DA-4724-BA73-FA6C65E70BC0}"/>
          </ac:spMkLst>
        </pc:spChg>
        <pc:spChg chg="add del mod modVis">
          <ac:chgData name="Ugo MANTEL" userId="2d5b7065-31bb-4181-a7f8-a73bf0c30211" providerId="ADAL" clId="{2A660E2D-CD4C-439C-955B-BDD952B126F0}" dt="2021-03-08T10:09:01.598" v="22207"/>
          <ac:spMkLst>
            <pc:docMk/>
            <pc:sldMk cId="3150485618" sldId="7331"/>
            <ac:spMk id="34" creationId="{F2704AE0-ABD7-4DF0-AD02-A5B64B006253}"/>
          </ac:spMkLst>
        </pc:spChg>
        <pc:spChg chg="add del mod modVis">
          <ac:chgData name="Ugo MANTEL" userId="2d5b7065-31bb-4181-a7f8-a73bf0c30211" providerId="ADAL" clId="{2A660E2D-CD4C-439C-955B-BDD952B126F0}" dt="2021-03-08T10:09:03.323" v="22251"/>
          <ac:spMkLst>
            <pc:docMk/>
            <pc:sldMk cId="3150485618" sldId="7331"/>
            <ac:spMk id="35" creationId="{CD934609-452B-4303-87E6-BC9C1BAD1DB4}"/>
          </ac:spMkLst>
        </pc:spChg>
        <pc:spChg chg="add del mod modVis">
          <ac:chgData name="Ugo MANTEL" userId="2d5b7065-31bb-4181-a7f8-a73bf0c30211" providerId="ADAL" clId="{2A660E2D-CD4C-439C-955B-BDD952B126F0}" dt="2021-03-08T10:09:04.421" v="22292"/>
          <ac:spMkLst>
            <pc:docMk/>
            <pc:sldMk cId="3150485618" sldId="7331"/>
            <ac:spMk id="36" creationId="{9AF92C82-0893-445A-8AA0-ECCC6119E5CB}"/>
          </ac:spMkLst>
        </pc:spChg>
        <pc:spChg chg="add del mod modVis">
          <ac:chgData name="Ugo MANTEL" userId="2d5b7065-31bb-4181-a7f8-a73bf0c30211" providerId="ADAL" clId="{2A660E2D-CD4C-439C-955B-BDD952B126F0}" dt="2021-03-08T10:09:05.994" v="22336"/>
          <ac:spMkLst>
            <pc:docMk/>
            <pc:sldMk cId="3150485618" sldId="7331"/>
            <ac:spMk id="37" creationId="{C7344B8E-E2C0-47E9-8696-3CF77D39707F}"/>
          </ac:spMkLst>
        </pc:spChg>
        <pc:spChg chg="add del mod modVis">
          <ac:chgData name="Ugo MANTEL" userId="2d5b7065-31bb-4181-a7f8-a73bf0c30211" providerId="ADAL" clId="{2A660E2D-CD4C-439C-955B-BDD952B126F0}" dt="2021-03-08T10:09:08.970" v="22386"/>
          <ac:spMkLst>
            <pc:docMk/>
            <pc:sldMk cId="3150485618" sldId="7331"/>
            <ac:spMk id="38" creationId="{A8CFFEC8-4802-4584-8D75-9D2826E0F0AA}"/>
          </ac:spMkLst>
        </pc:spChg>
        <pc:spChg chg="add del mod modVis">
          <ac:chgData name="Ugo MANTEL" userId="2d5b7065-31bb-4181-a7f8-a73bf0c30211" providerId="ADAL" clId="{2A660E2D-CD4C-439C-955B-BDD952B126F0}" dt="2021-03-08T10:09:14.867" v="22457"/>
          <ac:spMkLst>
            <pc:docMk/>
            <pc:sldMk cId="3150485618" sldId="7331"/>
            <ac:spMk id="39" creationId="{E9BF2C2E-4B52-4F40-BEA9-0AABD79DA57B}"/>
          </ac:spMkLst>
        </pc:spChg>
        <pc:spChg chg="add del mod modVis">
          <ac:chgData name="Ugo MANTEL" userId="2d5b7065-31bb-4181-a7f8-a73bf0c30211" providerId="ADAL" clId="{2A660E2D-CD4C-439C-955B-BDD952B126F0}" dt="2021-03-08T10:09:19.827" v="22501"/>
          <ac:spMkLst>
            <pc:docMk/>
            <pc:sldMk cId="3150485618" sldId="7331"/>
            <ac:spMk id="40" creationId="{60CEEE70-E84C-4499-B1BF-63CF3F7BDEDD}"/>
          </ac:spMkLst>
        </pc:spChg>
        <pc:spChg chg="add del mod modVis">
          <ac:chgData name="Ugo MANTEL" userId="2d5b7065-31bb-4181-a7f8-a73bf0c30211" providerId="ADAL" clId="{2A660E2D-CD4C-439C-955B-BDD952B126F0}" dt="2021-03-08T10:09:20.722" v="22543"/>
          <ac:spMkLst>
            <pc:docMk/>
            <pc:sldMk cId="3150485618" sldId="7331"/>
            <ac:spMk id="41" creationId="{1F034596-ACFF-4206-A45E-7706B00C8560}"/>
          </ac:spMkLst>
        </pc:spChg>
        <pc:spChg chg="add del mod modVis">
          <ac:chgData name="Ugo MANTEL" userId="2d5b7065-31bb-4181-a7f8-a73bf0c30211" providerId="ADAL" clId="{2A660E2D-CD4C-439C-955B-BDD952B126F0}" dt="2021-03-08T10:09:21.339" v="22584"/>
          <ac:spMkLst>
            <pc:docMk/>
            <pc:sldMk cId="3150485618" sldId="7331"/>
            <ac:spMk id="42" creationId="{53814EB3-BEBD-4149-84AE-303D44EB0C68}"/>
          </ac:spMkLst>
        </pc:spChg>
        <pc:spChg chg="add del mod modVis">
          <ac:chgData name="Ugo MANTEL" userId="2d5b7065-31bb-4181-a7f8-a73bf0c30211" providerId="ADAL" clId="{2A660E2D-CD4C-439C-955B-BDD952B126F0}" dt="2021-03-08T10:09:23.143" v="22632"/>
          <ac:spMkLst>
            <pc:docMk/>
            <pc:sldMk cId="3150485618" sldId="7331"/>
            <ac:spMk id="43" creationId="{1119F8DC-5A86-4EA6-BEF6-700371A2DE56}"/>
          </ac:spMkLst>
        </pc:spChg>
        <pc:spChg chg="add del mod modVis">
          <ac:chgData name="Ugo MANTEL" userId="2d5b7065-31bb-4181-a7f8-a73bf0c30211" providerId="ADAL" clId="{2A660E2D-CD4C-439C-955B-BDD952B126F0}" dt="2021-03-08T10:09:24.056" v="22674"/>
          <ac:spMkLst>
            <pc:docMk/>
            <pc:sldMk cId="3150485618" sldId="7331"/>
            <ac:spMk id="44" creationId="{A9A831AC-3BBF-4166-AD0F-C49C2BD3CE42}"/>
          </ac:spMkLst>
        </pc:spChg>
        <pc:spChg chg="add del mod modVis">
          <ac:chgData name="Ugo MANTEL" userId="2d5b7065-31bb-4181-a7f8-a73bf0c30211" providerId="ADAL" clId="{2A660E2D-CD4C-439C-955B-BDD952B126F0}" dt="2021-03-08T10:09:24.915" v="22716"/>
          <ac:spMkLst>
            <pc:docMk/>
            <pc:sldMk cId="3150485618" sldId="7331"/>
            <ac:spMk id="45" creationId="{B1FB2337-FEBE-434C-B32E-33A4A8196145}"/>
          </ac:spMkLst>
        </pc:spChg>
        <pc:spChg chg="add del mod modVis">
          <ac:chgData name="Ugo MANTEL" userId="2d5b7065-31bb-4181-a7f8-a73bf0c30211" providerId="ADAL" clId="{2A660E2D-CD4C-439C-955B-BDD952B126F0}" dt="2021-03-08T10:09:28.145" v="22765"/>
          <ac:spMkLst>
            <pc:docMk/>
            <pc:sldMk cId="3150485618" sldId="7331"/>
            <ac:spMk id="46" creationId="{5D2543CC-3926-4C8B-A1BA-15C9353F3BB1}"/>
          </ac:spMkLst>
        </pc:spChg>
        <pc:spChg chg="add del mod modVis">
          <ac:chgData name="Ugo MANTEL" userId="2d5b7065-31bb-4181-a7f8-a73bf0c30211" providerId="ADAL" clId="{2A660E2D-CD4C-439C-955B-BDD952B126F0}" dt="2021-03-08T10:09:30.985" v="22808"/>
          <ac:spMkLst>
            <pc:docMk/>
            <pc:sldMk cId="3150485618" sldId="7331"/>
            <ac:spMk id="47" creationId="{364CD848-2160-4155-8DDB-101428F96639}"/>
          </ac:spMkLst>
        </pc:spChg>
        <pc:spChg chg="add del mod modVis">
          <ac:chgData name="Ugo MANTEL" userId="2d5b7065-31bb-4181-a7f8-a73bf0c30211" providerId="ADAL" clId="{2A660E2D-CD4C-439C-955B-BDD952B126F0}" dt="2021-03-08T10:09:35.116" v="22858"/>
          <ac:spMkLst>
            <pc:docMk/>
            <pc:sldMk cId="3150485618" sldId="7331"/>
            <ac:spMk id="48" creationId="{65CBBE0B-C901-47F8-A820-3F8B251129D5}"/>
          </ac:spMkLst>
        </pc:spChg>
        <pc:spChg chg="add del mod modVis">
          <ac:chgData name="Ugo MANTEL" userId="2d5b7065-31bb-4181-a7f8-a73bf0c30211" providerId="ADAL" clId="{2A660E2D-CD4C-439C-955B-BDD952B126F0}" dt="2021-03-08T10:09:37.739" v="22911"/>
          <ac:spMkLst>
            <pc:docMk/>
            <pc:sldMk cId="3150485618" sldId="7331"/>
            <ac:spMk id="49" creationId="{F1B54B42-B753-4DCC-897E-77E557BEDD70}"/>
          </ac:spMkLst>
        </pc:spChg>
        <pc:spChg chg="add del mod modVis">
          <ac:chgData name="Ugo MANTEL" userId="2d5b7065-31bb-4181-a7f8-a73bf0c30211" providerId="ADAL" clId="{2A660E2D-CD4C-439C-955B-BDD952B126F0}" dt="2021-03-08T10:09:39.339" v="22956"/>
          <ac:spMkLst>
            <pc:docMk/>
            <pc:sldMk cId="3150485618" sldId="7331"/>
            <ac:spMk id="50" creationId="{AA81597C-D0FB-4829-AB5B-A4AD74ADFE66}"/>
          </ac:spMkLst>
        </pc:spChg>
        <pc:spChg chg="add del mod modVis">
          <ac:chgData name="Ugo MANTEL" userId="2d5b7065-31bb-4181-a7f8-a73bf0c30211" providerId="ADAL" clId="{2A660E2D-CD4C-439C-955B-BDD952B126F0}" dt="2021-03-08T10:09:42.445" v="22999"/>
          <ac:spMkLst>
            <pc:docMk/>
            <pc:sldMk cId="3150485618" sldId="7331"/>
            <ac:spMk id="51" creationId="{2A7F56D9-DD8D-4C69-99CC-284A7557105F}"/>
          </ac:spMkLst>
        </pc:spChg>
        <pc:spChg chg="add del mod modVis">
          <ac:chgData name="Ugo MANTEL" userId="2d5b7065-31bb-4181-a7f8-a73bf0c30211" providerId="ADAL" clId="{2A660E2D-CD4C-439C-955B-BDD952B126F0}" dt="2021-03-08T10:09:44.595" v="23040"/>
          <ac:spMkLst>
            <pc:docMk/>
            <pc:sldMk cId="3150485618" sldId="7331"/>
            <ac:spMk id="52" creationId="{16EFECA6-F097-4E1A-9C3B-59E937D36EC7}"/>
          </ac:spMkLst>
        </pc:spChg>
        <pc:spChg chg="add del mod modVis">
          <ac:chgData name="Ugo MANTEL" userId="2d5b7065-31bb-4181-a7f8-a73bf0c30211" providerId="ADAL" clId="{2A660E2D-CD4C-439C-955B-BDD952B126F0}" dt="2021-03-08T10:09:45.511" v="23082"/>
          <ac:spMkLst>
            <pc:docMk/>
            <pc:sldMk cId="3150485618" sldId="7331"/>
            <ac:spMk id="53" creationId="{885E0CE5-BE5F-4670-B90A-3A61ECDEADEB}"/>
          </ac:spMkLst>
        </pc:spChg>
        <pc:spChg chg="add del mod modVis">
          <ac:chgData name="Ugo MANTEL" userId="2d5b7065-31bb-4181-a7f8-a73bf0c30211" providerId="ADAL" clId="{2A660E2D-CD4C-439C-955B-BDD952B126F0}" dt="2021-03-08T10:09:48.815" v="23124"/>
          <ac:spMkLst>
            <pc:docMk/>
            <pc:sldMk cId="3150485618" sldId="7331"/>
            <ac:spMk id="54" creationId="{CF93F098-F8D2-49EC-88F3-F75C2AE6250E}"/>
          </ac:spMkLst>
        </pc:spChg>
        <pc:spChg chg="add del mod modVis">
          <ac:chgData name="Ugo MANTEL" userId="2d5b7065-31bb-4181-a7f8-a73bf0c30211" providerId="ADAL" clId="{2A660E2D-CD4C-439C-955B-BDD952B126F0}" dt="2021-03-08T10:09:49.710" v="23167"/>
          <ac:spMkLst>
            <pc:docMk/>
            <pc:sldMk cId="3150485618" sldId="7331"/>
            <ac:spMk id="55" creationId="{01685468-C6C0-4818-826A-4A7C5213D6DA}"/>
          </ac:spMkLst>
        </pc:spChg>
        <pc:spChg chg="add del mod modVis">
          <ac:chgData name="Ugo MANTEL" userId="2d5b7065-31bb-4181-a7f8-a73bf0c30211" providerId="ADAL" clId="{2A660E2D-CD4C-439C-955B-BDD952B126F0}" dt="2021-03-08T10:09:50.595" v="23208"/>
          <ac:spMkLst>
            <pc:docMk/>
            <pc:sldMk cId="3150485618" sldId="7331"/>
            <ac:spMk id="56" creationId="{6B99CA22-9AFB-4568-9730-0C6E8B1B55FC}"/>
          </ac:spMkLst>
        </pc:spChg>
        <pc:spChg chg="add del mod modVis">
          <ac:chgData name="Ugo MANTEL" userId="2d5b7065-31bb-4181-a7f8-a73bf0c30211" providerId="ADAL" clId="{2A660E2D-CD4C-439C-955B-BDD952B126F0}" dt="2021-03-08T10:09:51.587" v="23251"/>
          <ac:spMkLst>
            <pc:docMk/>
            <pc:sldMk cId="3150485618" sldId="7331"/>
            <ac:spMk id="57" creationId="{771F2A98-48AE-4509-815B-D8263FCF05A2}"/>
          </ac:spMkLst>
        </pc:spChg>
        <pc:spChg chg="add del mod modVis">
          <ac:chgData name="Ugo MANTEL" userId="2d5b7065-31bb-4181-a7f8-a73bf0c30211" providerId="ADAL" clId="{2A660E2D-CD4C-439C-955B-BDD952B126F0}" dt="2021-03-08T10:09:55.278" v="23292"/>
          <ac:spMkLst>
            <pc:docMk/>
            <pc:sldMk cId="3150485618" sldId="7331"/>
            <ac:spMk id="58" creationId="{0C00B874-84FE-4F6D-A183-8B49A17A422C}"/>
          </ac:spMkLst>
        </pc:spChg>
        <pc:spChg chg="add del mod modVis">
          <ac:chgData name="Ugo MANTEL" userId="2d5b7065-31bb-4181-a7f8-a73bf0c30211" providerId="ADAL" clId="{2A660E2D-CD4C-439C-955B-BDD952B126F0}" dt="2021-03-08T10:10:01.804" v="23333"/>
          <ac:spMkLst>
            <pc:docMk/>
            <pc:sldMk cId="3150485618" sldId="7331"/>
            <ac:spMk id="59" creationId="{BB8F858E-77AD-473D-9BC4-216EC55F2AFC}"/>
          </ac:spMkLst>
        </pc:spChg>
        <pc:spChg chg="add del mod modVis">
          <ac:chgData name="Ugo MANTEL" userId="2d5b7065-31bb-4181-a7f8-a73bf0c30211" providerId="ADAL" clId="{2A660E2D-CD4C-439C-955B-BDD952B126F0}" dt="2021-03-08T10:10:05.463" v="23384"/>
          <ac:spMkLst>
            <pc:docMk/>
            <pc:sldMk cId="3150485618" sldId="7331"/>
            <ac:spMk id="60" creationId="{6C14CBDE-5459-4002-AFE8-C835FFFEC281}"/>
          </ac:spMkLst>
        </pc:spChg>
        <pc:spChg chg="add del mod modVis">
          <ac:chgData name="Ugo MANTEL" userId="2d5b7065-31bb-4181-a7f8-a73bf0c30211" providerId="ADAL" clId="{2A660E2D-CD4C-439C-955B-BDD952B126F0}" dt="2021-03-08T10:10:06.580" v="23428"/>
          <ac:spMkLst>
            <pc:docMk/>
            <pc:sldMk cId="3150485618" sldId="7331"/>
            <ac:spMk id="61" creationId="{A7F84F25-559D-41CE-9D14-CE3E9708043E}"/>
          </ac:spMkLst>
        </pc:spChg>
        <pc:spChg chg="add del mod modVis">
          <ac:chgData name="Ugo MANTEL" userId="2d5b7065-31bb-4181-a7f8-a73bf0c30211" providerId="ADAL" clId="{2A660E2D-CD4C-439C-955B-BDD952B126F0}" dt="2021-03-08T10:10:21.191" v="23470"/>
          <ac:spMkLst>
            <pc:docMk/>
            <pc:sldMk cId="3150485618" sldId="7331"/>
            <ac:spMk id="62" creationId="{60E70C3D-8907-4FB9-AC29-E362CED69F17}"/>
          </ac:spMkLst>
        </pc:spChg>
        <pc:spChg chg="add del mod modVis">
          <ac:chgData name="Ugo MANTEL" userId="2d5b7065-31bb-4181-a7f8-a73bf0c30211" providerId="ADAL" clId="{2A660E2D-CD4C-439C-955B-BDD952B126F0}" dt="2021-03-08T10:10:23.196" v="23514"/>
          <ac:spMkLst>
            <pc:docMk/>
            <pc:sldMk cId="3150485618" sldId="7331"/>
            <ac:spMk id="63" creationId="{8D18BE65-610B-48D6-BE6F-E65584D2AF3D}"/>
          </ac:spMkLst>
        </pc:spChg>
        <pc:spChg chg="add mod">
          <ac:chgData name="Ugo MANTEL" userId="2d5b7065-31bb-4181-a7f8-a73bf0c30211" providerId="ADAL" clId="{2A660E2D-CD4C-439C-955B-BDD952B126F0}" dt="2021-03-08T13:59:00.986" v="31240" actId="20577"/>
          <ac:spMkLst>
            <pc:docMk/>
            <pc:sldMk cId="3150485618" sldId="7331"/>
            <ac:spMk id="80" creationId="{6176FD73-D8F8-4FE7-AD28-648B48BAB952}"/>
          </ac:spMkLst>
        </pc:spChg>
        <pc:spChg chg="add del mod modVis">
          <ac:chgData name="Ugo MANTEL" userId="2d5b7065-31bb-4181-a7f8-a73bf0c30211" providerId="ADAL" clId="{2A660E2D-CD4C-439C-955B-BDD952B126F0}" dt="2021-03-08T10:10:23.837" v="23555"/>
          <ac:spMkLst>
            <pc:docMk/>
            <pc:sldMk cId="3150485618" sldId="7331"/>
            <ac:spMk id="576" creationId="{DE4AD745-6145-40B7-8B26-927B8DA73F6D}"/>
          </ac:spMkLst>
        </pc:spChg>
        <pc:spChg chg="add del mod modVis">
          <ac:chgData name="Ugo MANTEL" userId="2d5b7065-31bb-4181-a7f8-a73bf0c30211" providerId="ADAL" clId="{2A660E2D-CD4C-439C-955B-BDD952B126F0}" dt="2021-03-08T10:10:26.077" v="23600"/>
          <ac:spMkLst>
            <pc:docMk/>
            <pc:sldMk cId="3150485618" sldId="7331"/>
            <ac:spMk id="577" creationId="{6CFA8118-49F8-4F3E-A611-42F685514394}"/>
          </ac:spMkLst>
        </pc:spChg>
        <pc:spChg chg="add del mod modVis">
          <ac:chgData name="Ugo MANTEL" userId="2d5b7065-31bb-4181-a7f8-a73bf0c30211" providerId="ADAL" clId="{2A660E2D-CD4C-439C-955B-BDD952B126F0}" dt="2021-03-08T10:10:40.218" v="23682"/>
          <ac:spMkLst>
            <pc:docMk/>
            <pc:sldMk cId="3150485618" sldId="7331"/>
            <ac:spMk id="578" creationId="{30EFA579-28D4-4743-A5FC-DA9C72FA61E0}"/>
          </ac:spMkLst>
        </pc:spChg>
        <pc:spChg chg="add del mod modVis">
          <ac:chgData name="Ugo MANTEL" userId="2d5b7065-31bb-4181-a7f8-a73bf0c30211" providerId="ADAL" clId="{2A660E2D-CD4C-439C-955B-BDD952B126F0}" dt="2021-03-08T10:10:43.190" v="23723"/>
          <ac:spMkLst>
            <pc:docMk/>
            <pc:sldMk cId="3150485618" sldId="7331"/>
            <ac:spMk id="579" creationId="{B4D3DB40-D73F-4C9A-9C57-ABAD68BADD59}"/>
          </ac:spMkLst>
        </pc:spChg>
        <pc:spChg chg="add del mod modVis">
          <ac:chgData name="Ugo MANTEL" userId="2d5b7065-31bb-4181-a7f8-a73bf0c30211" providerId="ADAL" clId="{2A660E2D-CD4C-439C-955B-BDD952B126F0}" dt="2021-03-08T10:10:46.722" v="23764"/>
          <ac:spMkLst>
            <pc:docMk/>
            <pc:sldMk cId="3150485618" sldId="7331"/>
            <ac:spMk id="580" creationId="{9D788ECC-91E6-4DAD-BCD5-A52B9FC2F3AD}"/>
          </ac:spMkLst>
        </pc:spChg>
        <pc:spChg chg="add del mod modVis">
          <ac:chgData name="Ugo MANTEL" userId="2d5b7065-31bb-4181-a7f8-a73bf0c30211" providerId="ADAL" clId="{2A660E2D-CD4C-439C-955B-BDD952B126F0}" dt="2021-03-08T09:32:40.317" v="3600"/>
          <ac:spMkLst>
            <pc:docMk/>
            <pc:sldMk cId="3150485618" sldId="7331"/>
            <ac:spMk id="583" creationId="{F071DFBE-9CB8-47CD-BE49-BBDCB4388AE7}"/>
          </ac:spMkLst>
        </pc:spChg>
        <pc:spChg chg="add mod">
          <ac:chgData name="Ugo MANTEL" userId="2d5b7065-31bb-4181-a7f8-a73bf0c30211" providerId="ADAL" clId="{2A660E2D-CD4C-439C-955B-BDD952B126F0}" dt="2021-03-08T09:32:40.375" v="3603"/>
          <ac:spMkLst>
            <pc:docMk/>
            <pc:sldMk cId="3150485618" sldId="7331"/>
            <ac:spMk id="584" creationId="{899589CB-45AE-4F94-BBEB-C9F32B82E1DB}"/>
          </ac:spMkLst>
        </pc:spChg>
        <pc:spChg chg="add mod">
          <ac:chgData name="Ugo MANTEL" userId="2d5b7065-31bb-4181-a7f8-a73bf0c30211" providerId="ADAL" clId="{2A660E2D-CD4C-439C-955B-BDD952B126F0}" dt="2021-03-08T09:32:40.375" v="3603"/>
          <ac:spMkLst>
            <pc:docMk/>
            <pc:sldMk cId="3150485618" sldId="7331"/>
            <ac:spMk id="585" creationId="{3F0DF168-7912-4677-81B9-631A7AE1A782}"/>
          </ac:spMkLst>
        </pc:spChg>
        <pc:spChg chg="add mod">
          <ac:chgData name="Ugo MANTEL" userId="2d5b7065-31bb-4181-a7f8-a73bf0c30211" providerId="ADAL" clId="{2A660E2D-CD4C-439C-955B-BDD952B126F0}" dt="2021-03-08T09:32:40.375" v="3603"/>
          <ac:spMkLst>
            <pc:docMk/>
            <pc:sldMk cId="3150485618" sldId="7331"/>
            <ac:spMk id="586" creationId="{8198288C-2021-4E0C-B24D-440404343D2D}"/>
          </ac:spMkLst>
        </pc:spChg>
        <pc:spChg chg="add mod">
          <ac:chgData name="Ugo MANTEL" userId="2d5b7065-31bb-4181-a7f8-a73bf0c30211" providerId="ADAL" clId="{2A660E2D-CD4C-439C-955B-BDD952B126F0}" dt="2021-03-08T09:32:40.375" v="3603"/>
          <ac:spMkLst>
            <pc:docMk/>
            <pc:sldMk cId="3150485618" sldId="7331"/>
            <ac:spMk id="587" creationId="{410EEDC1-0348-49B7-9C87-75340D928A62}"/>
          </ac:spMkLst>
        </pc:spChg>
        <pc:spChg chg="add mod">
          <ac:chgData name="Ugo MANTEL" userId="2d5b7065-31bb-4181-a7f8-a73bf0c30211" providerId="ADAL" clId="{2A660E2D-CD4C-439C-955B-BDD952B126F0}" dt="2021-03-08T09:32:40.375" v="3603"/>
          <ac:spMkLst>
            <pc:docMk/>
            <pc:sldMk cId="3150485618" sldId="7331"/>
            <ac:spMk id="595" creationId="{F3EC09FA-0A14-477E-84EB-3810DF9665D1}"/>
          </ac:spMkLst>
        </pc:spChg>
        <pc:grpChg chg="add del mod">
          <ac:chgData name="Ugo MANTEL" userId="2d5b7065-31bb-4181-a7f8-a73bf0c30211" providerId="ADAL" clId="{2A660E2D-CD4C-439C-955B-BDD952B126F0}" dt="2021-03-08T09:33:22.514" v="3649" actId="478"/>
          <ac:grpSpMkLst>
            <pc:docMk/>
            <pc:sldMk cId="3150485618" sldId="7331"/>
            <ac:grpSpMk id="596" creationId="{4F46849B-CAE3-4258-9E77-FE1E8B8503FC}"/>
          </ac:grpSpMkLst>
        </pc:grpChg>
        <pc:graphicFrameChg chg="modGraphic">
          <ac:chgData name="Ugo MANTEL" userId="2d5b7065-31bb-4181-a7f8-a73bf0c30211" providerId="ADAL" clId="{2A660E2D-CD4C-439C-955B-BDD952B126F0}" dt="2021-03-08T10:15:31.565" v="25918" actId="113"/>
          <ac:graphicFrameMkLst>
            <pc:docMk/>
            <pc:sldMk cId="3150485618" sldId="7331"/>
            <ac:graphicFrameMk id="6" creationId="{40DF5000-C39C-49DC-9049-89450CA51B8F}"/>
          </ac:graphicFrameMkLst>
        </pc:graphicFrameChg>
        <pc:graphicFrameChg chg="modGraphic">
          <ac:chgData name="Ugo MANTEL" userId="2d5b7065-31bb-4181-a7f8-a73bf0c30211" providerId="ADAL" clId="{2A660E2D-CD4C-439C-955B-BDD952B126F0}" dt="2021-03-08T10:15:26.957" v="25917" actId="113"/>
          <ac:graphicFrameMkLst>
            <pc:docMk/>
            <pc:sldMk cId="3150485618" sldId="7331"/>
            <ac:graphicFrameMk id="7" creationId="{03894287-9D6A-46B2-B5B8-8EBC8033CF5B}"/>
          </ac:graphicFrameMkLst>
        </pc:graphicFrameChg>
        <pc:graphicFrameChg chg="mod">
          <ac:chgData name="Ugo MANTEL" userId="2d5b7065-31bb-4181-a7f8-a73bf0c30211" providerId="ADAL" clId="{2A660E2D-CD4C-439C-955B-BDD952B126F0}" dt="2021-03-08T10:10:46.733" v="23766"/>
          <ac:graphicFrameMkLst>
            <pc:docMk/>
            <pc:sldMk cId="3150485618" sldId="7331"/>
            <ac:graphicFrameMk id="9" creationId="{777857E2-6DF1-48EF-BB3F-BB1531140D04}"/>
          </ac:graphicFrameMkLst>
        </pc:graphicFrameChg>
        <pc:picChg chg="add mod">
          <ac:chgData name="Ugo MANTEL" userId="2d5b7065-31bb-4181-a7f8-a73bf0c30211" providerId="ADAL" clId="{2A660E2D-CD4C-439C-955B-BDD952B126F0}" dt="2021-03-08T10:11:46.687" v="23992" actId="1076"/>
          <ac:picMkLst>
            <pc:docMk/>
            <pc:sldMk cId="3150485618" sldId="7331"/>
            <ac:picMk id="81" creationId="{100D613A-6E33-4F7D-82B5-17F146CA40C9}"/>
          </ac:picMkLst>
        </pc:picChg>
        <pc:picChg chg="add mod">
          <ac:chgData name="Ugo MANTEL" userId="2d5b7065-31bb-4181-a7f8-a73bf0c30211" providerId="ADAL" clId="{2A660E2D-CD4C-439C-955B-BDD952B126F0}" dt="2021-03-08T09:32:40.375" v="3603"/>
          <ac:picMkLst>
            <pc:docMk/>
            <pc:sldMk cId="3150485618" sldId="7331"/>
            <ac:picMk id="588" creationId="{ABFD68D7-DF42-4D19-8EFC-9DF58835C4AF}"/>
          </ac:picMkLst>
        </pc:picChg>
        <pc:picChg chg="add mod">
          <ac:chgData name="Ugo MANTEL" userId="2d5b7065-31bb-4181-a7f8-a73bf0c30211" providerId="ADAL" clId="{2A660E2D-CD4C-439C-955B-BDD952B126F0}" dt="2021-03-08T09:32:40.375" v="3603"/>
          <ac:picMkLst>
            <pc:docMk/>
            <pc:sldMk cId="3150485618" sldId="7331"/>
            <ac:picMk id="589" creationId="{29CC5E62-C40E-42AE-BC62-C49140EEEB63}"/>
          </ac:picMkLst>
        </pc:picChg>
        <pc:picChg chg="add mod">
          <ac:chgData name="Ugo MANTEL" userId="2d5b7065-31bb-4181-a7f8-a73bf0c30211" providerId="ADAL" clId="{2A660E2D-CD4C-439C-955B-BDD952B126F0}" dt="2021-03-08T09:32:40.375" v="3603"/>
          <ac:picMkLst>
            <pc:docMk/>
            <pc:sldMk cId="3150485618" sldId="7331"/>
            <ac:picMk id="590" creationId="{DBC9C08A-3DE4-4E8A-B523-037FE1B1D904}"/>
          </ac:picMkLst>
        </pc:picChg>
        <pc:picChg chg="add del mod">
          <ac:chgData name="Ugo MANTEL" userId="2d5b7065-31bb-4181-a7f8-a73bf0c30211" providerId="ADAL" clId="{2A660E2D-CD4C-439C-955B-BDD952B126F0}" dt="2021-03-08T09:32:42.580" v="3604" actId="478"/>
          <ac:picMkLst>
            <pc:docMk/>
            <pc:sldMk cId="3150485618" sldId="7331"/>
            <ac:picMk id="591" creationId="{FAF64614-2E77-436E-93D1-088859D50C26}"/>
          </ac:picMkLst>
        </pc:picChg>
        <pc:picChg chg="add mod">
          <ac:chgData name="Ugo MANTEL" userId="2d5b7065-31bb-4181-a7f8-a73bf0c30211" providerId="ADAL" clId="{2A660E2D-CD4C-439C-955B-BDD952B126F0}" dt="2021-03-08T09:32:45.681" v="3605" actId="164"/>
          <ac:picMkLst>
            <pc:docMk/>
            <pc:sldMk cId="3150485618" sldId="7331"/>
            <ac:picMk id="592" creationId="{8072F21A-5F5F-4423-B059-0B0CB0BB96AE}"/>
          </ac:picMkLst>
        </pc:picChg>
        <pc:picChg chg="add mod">
          <ac:chgData name="Ugo MANTEL" userId="2d5b7065-31bb-4181-a7f8-a73bf0c30211" providerId="ADAL" clId="{2A660E2D-CD4C-439C-955B-BDD952B126F0}" dt="2021-03-08T09:32:45.681" v="3605" actId="164"/>
          <ac:picMkLst>
            <pc:docMk/>
            <pc:sldMk cId="3150485618" sldId="7331"/>
            <ac:picMk id="593" creationId="{27C6F722-A3BC-4106-AC83-DA0223D32BB5}"/>
          </ac:picMkLst>
        </pc:picChg>
        <pc:picChg chg="add mod">
          <ac:chgData name="Ugo MANTEL" userId="2d5b7065-31bb-4181-a7f8-a73bf0c30211" providerId="ADAL" clId="{2A660E2D-CD4C-439C-955B-BDD952B126F0}" dt="2021-03-08T09:32:45.681" v="3605" actId="164"/>
          <ac:picMkLst>
            <pc:docMk/>
            <pc:sldMk cId="3150485618" sldId="7331"/>
            <ac:picMk id="594" creationId="{0043157B-D403-46D7-BAA9-9F58A0E08962}"/>
          </ac:picMkLst>
        </pc:picChg>
        <pc:picChg chg="add del mod">
          <ac:chgData name="Ugo MANTEL" userId="2d5b7065-31bb-4181-a7f8-a73bf0c30211" providerId="ADAL" clId="{2A660E2D-CD4C-439C-955B-BDD952B126F0}" dt="2021-03-08T09:33:32.315" v="3654" actId="478"/>
          <ac:picMkLst>
            <pc:docMk/>
            <pc:sldMk cId="3150485618" sldId="7331"/>
            <ac:picMk id="597" creationId="{BEFC9174-9B0D-4F41-8B4E-44E244EF5A97}"/>
          </ac:picMkLst>
        </pc:picChg>
        <pc:picChg chg="add mod">
          <ac:chgData name="Ugo MANTEL" userId="2d5b7065-31bb-4181-a7f8-a73bf0c30211" providerId="ADAL" clId="{2A660E2D-CD4C-439C-955B-BDD952B126F0}" dt="2021-03-08T09:33:23.084" v="3650"/>
          <ac:picMkLst>
            <pc:docMk/>
            <pc:sldMk cId="3150485618" sldId="7331"/>
            <ac:picMk id="598" creationId="{E068B7ED-C84D-4278-A852-B3DE90D0B9F6}"/>
          </ac:picMkLst>
        </pc:picChg>
        <pc:picChg chg="add mod">
          <ac:chgData name="Ugo MANTEL" userId="2d5b7065-31bb-4181-a7f8-a73bf0c30211" providerId="ADAL" clId="{2A660E2D-CD4C-439C-955B-BDD952B126F0}" dt="2021-03-08T09:33:23.084" v="3650"/>
          <ac:picMkLst>
            <pc:docMk/>
            <pc:sldMk cId="3150485618" sldId="7331"/>
            <ac:picMk id="599" creationId="{EF7EDC00-C64A-4042-ABCE-5D5D1B15261F}"/>
          </ac:picMkLst>
        </pc:picChg>
        <pc:picChg chg="add mod">
          <ac:chgData name="Ugo MANTEL" userId="2d5b7065-31bb-4181-a7f8-a73bf0c30211" providerId="ADAL" clId="{2A660E2D-CD4C-439C-955B-BDD952B126F0}" dt="2021-03-08T09:33:23.084" v="3650"/>
          <ac:picMkLst>
            <pc:docMk/>
            <pc:sldMk cId="3150485618" sldId="7331"/>
            <ac:picMk id="600" creationId="{9411C671-8E4C-4E07-8858-77C1356E5253}"/>
          </ac:picMkLst>
        </pc:picChg>
      </pc:sldChg>
      <pc:sldChg chg="addSp delSp modSp mod">
        <pc:chgData name="Ugo MANTEL" userId="2d5b7065-31bb-4181-a7f8-a73bf0c30211" providerId="ADAL" clId="{2A660E2D-CD4C-439C-955B-BDD952B126F0}" dt="2021-03-08T15:01:47.896" v="36059" actId="14100"/>
        <pc:sldMkLst>
          <pc:docMk/>
          <pc:sldMk cId="2701412712" sldId="7332"/>
        </pc:sldMkLst>
        <pc:spChg chg="mod">
          <ac:chgData name="Ugo MANTEL" userId="2d5b7065-31bb-4181-a7f8-a73bf0c30211" providerId="ADAL" clId="{2A660E2D-CD4C-439C-955B-BDD952B126F0}" dt="2021-03-08T14:08:58.282" v="34790"/>
          <ac:spMkLst>
            <pc:docMk/>
            <pc:sldMk cId="2701412712" sldId="7332"/>
            <ac:spMk id="2" creationId="{64576B3F-3BF3-47ED-8392-95410BFB7165}"/>
          </ac:spMkLst>
        </pc:spChg>
        <pc:spChg chg="mod ord">
          <ac:chgData name="Ugo MANTEL" userId="2d5b7065-31bb-4181-a7f8-a73bf0c30211" providerId="ADAL" clId="{2A660E2D-CD4C-439C-955B-BDD952B126F0}" dt="2021-03-08T15:01:47.896" v="36059" actId="14100"/>
          <ac:spMkLst>
            <pc:docMk/>
            <pc:sldMk cId="2701412712" sldId="7332"/>
            <ac:spMk id="3" creationId="{54F22942-C2FD-4CBD-8EDF-A48063B3C9C0}"/>
          </ac:spMkLst>
        </pc:spChg>
        <pc:spChg chg="add del mod modVis">
          <ac:chgData name="Ugo MANTEL" userId="2d5b7065-31bb-4181-a7f8-a73bf0c30211" providerId="ADAL" clId="{2A660E2D-CD4C-439C-955B-BDD952B126F0}" dt="2021-03-08T10:10:32.741" v="23641"/>
          <ac:spMkLst>
            <pc:docMk/>
            <pc:sldMk cId="2701412712" sldId="7332"/>
            <ac:spMk id="4" creationId="{1698A6E0-3786-45BD-8E41-AEFB64BA878E}"/>
          </ac:spMkLst>
        </pc:spChg>
        <pc:spChg chg="add del mod modVis">
          <ac:chgData name="Ugo MANTEL" userId="2d5b7065-31bb-4181-a7f8-a73bf0c30211" providerId="ADAL" clId="{2A660E2D-CD4C-439C-955B-BDD952B126F0}" dt="2021-03-08T13:52:34.581" v="26176"/>
          <ac:spMkLst>
            <pc:docMk/>
            <pc:sldMk cId="2701412712" sldId="7332"/>
            <ac:spMk id="4" creationId="{7124FC73-9757-48DE-9266-129A6DA0184D}"/>
          </ac:spMkLst>
        </pc:spChg>
        <pc:spChg chg="add del mod ord modVis">
          <ac:chgData name="Ugo MANTEL" userId="2d5b7065-31bb-4181-a7f8-a73bf0c30211" providerId="ADAL" clId="{2A660E2D-CD4C-439C-955B-BDD952B126F0}" dt="2021-03-08T13:53:06.333" v="26856"/>
          <ac:spMkLst>
            <pc:docMk/>
            <pc:sldMk cId="2701412712" sldId="7332"/>
            <ac:spMk id="5" creationId="{284E8EDF-1B2D-4A77-BCCB-B511257B7DD2}"/>
          </ac:spMkLst>
        </pc:spChg>
        <pc:spChg chg="add del mod modVis">
          <ac:chgData name="Ugo MANTEL" userId="2d5b7065-31bb-4181-a7f8-a73bf0c30211" providerId="ADAL" clId="{2A660E2D-CD4C-439C-955B-BDD952B126F0}" dt="2021-03-08T10:10:52.529" v="23805"/>
          <ac:spMkLst>
            <pc:docMk/>
            <pc:sldMk cId="2701412712" sldId="7332"/>
            <ac:spMk id="5" creationId="{59EF8124-3EC9-4C44-BC5D-C097065F09EC}"/>
          </ac:spMkLst>
        </pc:spChg>
        <pc:spChg chg="add del mod ord modVis">
          <ac:chgData name="Ugo MANTEL" userId="2d5b7065-31bb-4181-a7f8-a73bf0c30211" providerId="ADAL" clId="{2A660E2D-CD4C-439C-955B-BDD952B126F0}" dt="2021-03-08T13:53:18.945" v="27419"/>
          <ac:spMkLst>
            <pc:docMk/>
            <pc:sldMk cId="2701412712" sldId="7332"/>
            <ac:spMk id="6" creationId="{02824326-5FF9-4776-84AC-C66F9203882B}"/>
          </ac:spMkLst>
        </pc:spChg>
        <pc:spChg chg="add del mod modVis">
          <ac:chgData name="Ugo MANTEL" userId="2d5b7065-31bb-4181-a7f8-a73bf0c30211" providerId="ADAL" clId="{2A660E2D-CD4C-439C-955B-BDD952B126F0}" dt="2021-03-08T10:10:54.749" v="23847"/>
          <ac:spMkLst>
            <pc:docMk/>
            <pc:sldMk cId="2701412712" sldId="7332"/>
            <ac:spMk id="6" creationId="{B2CA2A7E-458D-411B-A8F6-88396BB54072}"/>
          </ac:spMkLst>
        </pc:spChg>
        <pc:spChg chg="add del mod ord modVis">
          <ac:chgData name="Ugo MANTEL" userId="2d5b7065-31bb-4181-a7f8-a73bf0c30211" providerId="ADAL" clId="{2A660E2D-CD4C-439C-955B-BDD952B126F0}" dt="2021-03-08T13:53:24.058" v="27659"/>
          <ac:spMkLst>
            <pc:docMk/>
            <pc:sldMk cId="2701412712" sldId="7332"/>
            <ac:spMk id="7" creationId="{4E2E8FFE-C316-46A3-B489-D13CB7924EC5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8" creationId="{CFC02BAD-456B-4773-9A5D-8C6871E49FAB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0" creationId="{33FAE982-EF25-48C7-A786-AC0F0510B8D2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1" creationId="{87D2F3C3-FA5C-421B-87D7-38B6AB2BF45B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2" creationId="{1C3FF9CD-B1BC-4799-A632-81B0B66892EF}"/>
          </ac:spMkLst>
        </pc:spChg>
        <pc:spChg chg="add del mod ord modVis">
          <ac:chgData name="Ugo MANTEL" userId="2d5b7065-31bb-4181-a7f8-a73bf0c30211" providerId="ADAL" clId="{2A660E2D-CD4C-439C-955B-BDD952B126F0}" dt="2021-03-08T13:53:24.723" v="27899"/>
          <ac:spMkLst>
            <pc:docMk/>
            <pc:sldMk cId="2701412712" sldId="7332"/>
            <ac:spMk id="13" creationId="{E1718959-D8BE-4971-BF2B-E64AD1D3B7FA}"/>
          </ac:spMkLst>
        </pc:spChg>
        <pc:spChg chg="add del mod ord modVis">
          <ac:chgData name="Ugo MANTEL" userId="2d5b7065-31bb-4181-a7f8-a73bf0c30211" providerId="ADAL" clId="{2A660E2D-CD4C-439C-955B-BDD952B126F0}" dt="2021-03-08T13:53:26.429" v="28140"/>
          <ac:spMkLst>
            <pc:docMk/>
            <pc:sldMk cId="2701412712" sldId="7332"/>
            <ac:spMk id="14" creationId="{9B79F207-866D-4A04-ADA7-143576F85850}"/>
          </ac:spMkLst>
        </pc:spChg>
        <pc:spChg chg="add del mod ord modVis">
          <ac:chgData name="Ugo MANTEL" userId="2d5b7065-31bb-4181-a7f8-a73bf0c30211" providerId="ADAL" clId="{2A660E2D-CD4C-439C-955B-BDD952B126F0}" dt="2021-03-08T13:53:29.392" v="28377"/>
          <ac:spMkLst>
            <pc:docMk/>
            <pc:sldMk cId="2701412712" sldId="7332"/>
            <ac:spMk id="15" creationId="{D9AA8546-6C1F-470D-8EEB-DDD013B2286E}"/>
          </ac:spMkLst>
        </pc:spChg>
        <pc:spChg chg="add del mod ord modVis">
          <ac:chgData name="Ugo MANTEL" userId="2d5b7065-31bb-4181-a7f8-a73bf0c30211" providerId="ADAL" clId="{2A660E2D-CD4C-439C-955B-BDD952B126F0}" dt="2021-03-08T13:53:30.327" v="28617"/>
          <ac:spMkLst>
            <pc:docMk/>
            <pc:sldMk cId="2701412712" sldId="7332"/>
            <ac:spMk id="16" creationId="{EA425B79-2966-4101-A1EF-7FDB0F74AA9D}"/>
          </ac:spMkLst>
        </pc:spChg>
        <pc:spChg chg="add del mod ord modVis">
          <ac:chgData name="Ugo MANTEL" userId="2d5b7065-31bb-4181-a7f8-a73bf0c30211" providerId="ADAL" clId="{2A660E2D-CD4C-439C-955B-BDD952B126F0}" dt="2021-03-08T13:53:32.107" v="28862"/>
          <ac:spMkLst>
            <pc:docMk/>
            <pc:sldMk cId="2701412712" sldId="7332"/>
            <ac:spMk id="17" creationId="{7A0AEA8A-9D2A-46EB-B392-E47F8DB8A52A}"/>
          </ac:spMkLst>
        </pc:spChg>
        <pc:spChg chg="add del mod ord modVis">
          <ac:chgData name="Ugo MANTEL" userId="2d5b7065-31bb-4181-a7f8-a73bf0c30211" providerId="ADAL" clId="{2A660E2D-CD4C-439C-955B-BDD952B126F0}" dt="2021-03-08T13:53:32.777" v="29102"/>
          <ac:spMkLst>
            <pc:docMk/>
            <pc:sldMk cId="2701412712" sldId="7332"/>
            <ac:spMk id="18" creationId="{1B2D3EC1-AD50-40EF-A721-239831F75474}"/>
          </ac:spMkLst>
        </pc:spChg>
        <pc:spChg chg="add del mod ord modVis">
          <ac:chgData name="Ugo MANTEL" userId="2d5b7065-31bb-4181-a7f8-a73bf0c30211" providerId="ADAL" clId="{2A660E2D-CD4C-439C-955B-BDD952B126F0}" dt="2021-03-08T13:53:44.007" v="29764"/>
          <ac:spMkLst>
            <pc:docMk/>
            <pc:sldMk cId="2701412712" sldId="7332"/>
            <ac:spMk id="19" creationId="{B9C4EBD0-5236-4C5F-8EB2-C1FEB3B76ED1}"/>
          </ac:spMkLst>
        </pc:spChg>
        <pc:spChg chg="add del mod ord modVis">
          <ac:chgData name="Ugo MANTEL" userId="2d5b7065-31bb-4181-a7f8-a73bf0c30211" providerId="ADAL" clId="{2A660E2D-CD4C-439C-955B-BDD952B126F0}" dt="2021-03-08T14:08:29.544" v="32258"/>
          <ac:spMkLst>
            <pc:docMk/>
            <pc:sldMk cId="2701412712" sldId="7332"/>
            <ac:spMk id="20" creationId="{3C9F873D-2D7E-430C-A143-45AF21AC4B7A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1" creationId="{86393647-7AF4-4521-B8B8-5AE0F22DC3B0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2" creationId="{1485A8C1-E288-4C0E-8B53-A639DDDA682F}"/>
          </ac:spMkLst>
        </pc:spChg>
        <pc:spChg chg="add del mod ord modVis">
          <ac:chgData name="Ugo MANTEL" userId="2d5b7065-31bb-4181-a7f8-a73bf0c30211" providerId="ADAL" clId="{2A660E2D-CD4C-439C-955B-BDD952B126F0}" dt="2021-03-08T14:08:34.067" v="32870"/>
          <ac:spMkLst>
            <pc:docMk/>
            <pc:sldMk cId="2701412712" sldId="7332"/>
            <ac:spMk id="23" creationId="{EE17E257-5F66-4D15-B084-11BC39124CED}"/>
          </ac:spMkLst>
        </pc:spChg>
        <pc:spChg chg="add del mod ord modVis">
          <ac:chgData name="Ugo MANTEL" userId="2d5b7065-31bb-4181-a7f8-a73bf0c30211" providerId="ADAL" clId="{2A660E2D-CD4C-439C-955B-BDD952B126F0}" dt="2021-03-08T14:08:37.201" v="33438"/>
          <ac:spMkLst>
            <pc:docMk/>
            <pc:sldMk cId="2701412712" sldId="7332"/>
            <ac:spMk id="24" creationId="{2E34BD09-AD05-4752-93CF-A25B4409B0DE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5" creationId="{62F441A8-CBFA-4807-AA42-A25161B73984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6" creationId="{9532E04E-BD40-4781-95C1-B1CB4629888D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7" creationId="{3D60F54E-E0B3-4D5A-9146-8B3E9297DA9A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8" creationId="{7DBC0A10-C77D-406E-9FE1-C469891D4A13}"/>
          </ac:spMkLst>
        </pc:spChg>
        <pc:spChg chg="mod">
          <ac:chgData name="Ugo MANTEL" userId="2d5b7065-31bb-4181-a7f8-a73bf0c30211" providerId="ADAL" clId="{2A660E2D-CD4C-439C-955B-BDD952B126F0}" dt="2021-03-08T14:08:58.290" v="34831"/>
          <ac:spMkLst>
            <pc:docMk/>
            <pc:sldMk cId="2701412712" sldId="7332"/>
            <ac:spMk id="29" creationId="{2D50909B-D276-4130-8015-7E672A7A6AC8}"/>
          </ac:spMkLst>
        </pc:spChg>
        <pc:spChg chg="add del mod ord modVis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31" creationId="{5CC88489-A7E1-4BD7-B97E-34712D7A0D6C}"/>
          </ac:spMkLst>
        </pc:spChg>
        <pc:spChg chg="mod">
          <ac:chgData name="Ugo MANTEL" userId="2d5b7065-31bb-4181-a7f8-a73bf0c30211" providerId="ADAL" clId="{2A660E2D-CD4C-439C-955B-BDD952B126F0}" dt="2021-03-08T14:08:58.289" v="34827"/>
          <ac:spMkLst>
            <pc:docMk/>
            <pc:sldMk cId="2701412712" sldId="7332"/>
            <ac:spMk id="32" creationId="{E983B6CB-FA16-4AA5-AF97-0806A4EBDEEC}"/>
          </ac:spMkLst>
        </pc:spChg>
        <pc:spChg chg="mod">
          <ac:chgData name="Ugo MANTEL" userId="2d5b7065-31bb-4181-a7f8-a73bf0c30211" providerId="ADAL" clId="{2A660E2D-CD4C-439C-955B-BDD952B126F0}" dt="2021-03-08T14:08:58.294" v="34850"/>
          <ac:spMkLst>
            <pc:docMk/>
            <pc:sldMk cId="2701412712" sldId="7332"/>
            <ac:spMk id="33" creationId="{A4C42241-6C7E-4D8D-AE62-1CC497C7E1FC}"/>
          </ac:spMkLst>
        </pc:spChg>
        <pc:spChg chg="mod">
          <ac:chgData name="Ugo MANTEL" userId="2d5b7065-31bb-4181-a7f8-a73bf0c30211" providerId="ADAL" clId="{2A660E2D-CD4C-439C-955B-BDD952B126F0}" dt="2021-03-08T14:08:58.295" v="34852"/>
          <ac:spMkLst>
            <pc:docMk/>
            <pc:sldMk cId="2701412712" sldId="7332"/>
            <ac:spMk id="49" creationId="{6BB7916F-8D04-479D-BB06-36EA6577D464}"/>
          </ac:spMkLst>
        </pc:spChg>
        <pc:spChg chg="mod">
          <ac:chgData name="Ugo MANTEL" userId="2d5b7065-31bb-4181-a7f8-a73bf0c30211" providerId="ADAL" clId="{2A660E2D-CD4C-439C-955B-BDD952B126F0}" dt="2021-03-08T14:08:58.294" v="34849"/>
          <ac:spMkLst>
            <pc:docMk/>
            <pc:sldMk cId="2701412712" sldId="7332"/>
            <ac:spMk id="60" creationId="{079A3004-8B10-4A8B-A55B-01C30D9ACF73}"/>
          </ac:spMkLst>
        </pc:spChg>
        <pc:spChg chg="mod">
          <ac:chgData name="Ugo MANTEL" userId="2d5b7065-31bb-4181-a7f8-a73bf0c30211" providerId="ADAL" clId="{2A660E2D-CD4C-439C-955B-BDD952B126F0}" dt="2021-03-08T14:08:58.294" v="34847"/>
          <ac:spMkLst>
            <pc:docMk/>
            <pc:sldMk cId="2701412712" sldId="7332"/>
            <ac:spMk id="61" creationId="{6A5F3BD4-D574-47FE-9569-2BFBE78A5DE9}"/>
          </ac:spMkLst>
        </pc:spChg>
        <pc:spChg chg="add del mod">
          <ac:chgData name="Ugo MANTEL" userId="2d5b7065-31bb-4181-a7f8-a73bf0c30211" providerId="ADAL" clId="{2A660E2D-CD4C-439C-955B-BDD952B126F0}" dt="2021-03-08T09:31:45.500" v="2354"/>
          <ac:spMkLst>
            <pc:docMk/>
            <pc:sldMk cId="2701412712" sldId="7332"/>
            <ac:spMk id="80" creationId="{52C34525-459C-458B-9E6B-3919FBF2E7D2}"/>
          </ac:spMkLst>
        </pc:spChg>
        <pc:spChg chg="add del mod">
          <ac:chgData name="Ugo MANTEL" userId="2d5b7065-31bb-4181-a7f8-a73bf0c30211" providerId="ADAL" clId="{2A660E2D-CD4C-439C-955B-BDD952B126F0}" dt="2021-03-08T09:31:45.500" v="2355"/>
          <ac:spMkLst>
            <pc:docMk/>
            <pc:sldMk cId="2701412712" sldId="7332"/>
            <ac:spMk id="88" creationId="{469DB7D0-6D6B-4505-936B-536818AF6B7E}"/>
          </ac:spMkLst>
        </pc:spChg>
        <pc:spChg chg="add 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04" creationId="{BA26C06F-3D5D-4A61-986F-F963A5014473}"/>
          </ac:spMkLst>
        </pc:spChg>
        <pc:spChg chg="add mo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42" creationId="{A91D9652-A08F-4BC0-99C5-9F16B0A97DB4}"/>
          </ac:spMkLst>
        </pc:spChg>
        <pc:spChg chg="add mo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44" creationId="{0B4C9781-8211-4707-9C5A-31CFCB3C4E97}"/>
          </ac:spMkLst>
        </pc:spChg>
        <pc:spChg chg="add mo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45" creationId="{3CAFE51C-6B31-47EB-909D-872EABAB2668}"/>
          </ac:spMkLst>
        </pc:spChg>
        <pc:spChg chg="add mo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46" creationId="{942425D8-4F8D-42E6-942A-48129F918F3C}"/>
          </ac:spMkLst>
        </pc:spChg>
        <pc:spChg chg="add mo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54" creationId="{AE64E67E-3D3D-408B-954F-DE942DAD59A0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55" creationId="{4A59B4EB-D46A-4E72-ABAA-534E7284D853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56" creationId="{EF9D2E18-A2AD-4C17-809E-504AC2D56391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57" creationId="{58F20243-8FEE-4E74-91FE-CA462C21C1CD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58" creationId="{6FFBD836-76D6-4706-9391-961BBE0A2260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59" creationId="{226A7B05-7225-451C-ACC8-7044A2E4CEEC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60" creationId="{F63549C8-C607-4C75-957D-A04EDFB6037A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61" creationId="{5C66A23C-D266-4CAF-B9D5-1D29DB1EBAE4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62" creationId="{9749F131-8635-40E1-92E7-2788F9881D79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63" creationId="{81421543-A1B4-4FB6-9202-84E531EF28BB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64" creationId="{FB55E7CC-F607-4AC4-A954-640181C8A369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65" creationId="{1F80219A-9F4E-4821-BBF2-BD5CBA42A2BB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66" creationId="{315C1A59-6188-4670-BD26-1526E5FC03D4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67" creationId="{8DC6E773-90F1-460C-B279-7E095CE2FE5E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68" creationId="{B12C8D30-D43E-4CCF-B60E-A62AA55500DA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69" creationId="{A7585CD4-1851-4C57-8433-BF5BD49A9D1E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70" creationId="{57704601-FDA1-429A-9535-A530A048E5E5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1" creationId="{63B0AE7D-BDAD-421B-869C-D24C4DB2D431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2" creationId="{73C150B7-E04D-41B3-BFDC-855CEFA54A06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3" creationId="{B3A85013-27C7-4AC9-B6F2-FC2A065C92FF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4" creationId="{961B3912-02E0-476F-9443-E66DCF6A8DD5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5" creationId="{EEAF0D44-F8B4-4C9C-AE2B-063E9E9B5A63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6" creationId="{A0A18266-BDBC-49BD-A056-1D980292D708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7" creationId="{98087942-881E-4D83-BD07-1B7DFA44E90B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8" creationId="{4114460A-A6ED-428D-AC77-157401BF71B0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79" creationId="{8C0E345A-3C62-4345-A6A6-ED6D23D26C46}"/>
          </ac:spMkLst>
        </pc:spChg>
        <pc:spChg chg="add del 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80" creationId="{196E37F8-2023-426A-93FD-D8701BBC5501}"/>
          </ac:spMkLst>
        </pc:spChg>
        <pc:spChg chg="add del 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181" creationId="{06F854A8-C1A6-4563-BC36-A0F2AC4D87D2}"/>
          </ac:spMkLst>
        </pc:spChg>
        <pc:spChg chg="del mod ord">
          <ac:chgData name="Ugo MANTEL" userId="2d5b7065-31bb-4181-a7f8-a73bf0c30211" providerId="ADAL" clId="{2A660E2D-CD4C-439C-955B-BDD952B126F0}" dt="2021-03-08T13:56:52.033" v="31221" actId="478"/>
          <ac:spMkLst>
            <pc:docMk/>
            <pc:sldMk cId="2701412712" sldId="7332"/>
            <ac:spMk id="182" creationId="{6C565E8B-F496-454F-80C5-2992CC718278}"/>
          </ac:spMkLst>
        </pc:spChg>
        <pc:spChg chg="del mod ord">
          <ac:chgData name="Ugo MANTEL" userId="2d5b7065-31bb-4181-a7f8-a73bf0c30211" providerId="ADAL" clId="{2A660E2D-CD4C-439C-955B-BDD952B126F0}" dt="2021-03-08T13:56:54.529" v="31222" actId="478"/>
          <ac:spMkLst>
            <pc:docMk/>
            <pc:sldMk cId="2701412712" sldId="7332"/>
            <ac:spMk id="183" creationId="{9AFF5363-CE07-4936-8748-9D7B13ECE13F}"/>
          </ac:spMkLst>
        </pc:spChg>
        <pc:spChg chg="add mo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185" creationId="{C2032052-361A-417E-8924-B7B15881AE8A}"/>
          </ac:spMkLst>
        </pc:spChg>
        <pc:spChg chg="add mod">
          <ac:chgData name="Ugo MANTEL" userId="2d5b7065-31bb-4181-a7f8-a73bf0c30211" providerId="ADAL" clId="{2A660E2D-CD4C-439C-955B-BDD952B126F0}" dt="2021-03-08T15:00:54.962" v="36039" actId="20577"/>
          <ac:spMkLst>
            <pc:docMk/>
            <pc:sldMk cId="2701412712" sldId="7332"/>
            <ac:spMk id="189" creationId="{4891F337-0DC4-48EA-A95A-73780135F9F7}"/>
          </ac:spMkLst>
        </pc:spChg>
        <pc:spChg chg="add mod">
          <ac:chgData name="Ugo MANTEL" userId="2d5b7065-31bb-4181-a7f8-a73bf0c30211" providerId="ADAL" clId="{2A660E2D-CD4C-439C-955B-BDD952B126F0}" dt="2021-03-08T15:01:14.053" v="36046" actId="20577"/>
          <ac:spMkLst>
            <pc:docMk/>
            <pc:sldMk cId="2701412712" sldId="7332"/>
            <ac:spMk id="190" creationId="{079E8061-CC0D-46F0-8E84-4426A274A954}"/>
          </ac:spMkLst>
        </pc:spChg>
        <pc:spChg chg="add mod">
          <ac:chgData name="Ugo MANTEL" userId="2d5b7065-31bb-4181-a7f8-a73bf0c30211" providerId="ADAL" clId="{2A660E2D-CD4C-439C-955B-BDD952B126F0}" dt="2021-03-08T15:00:45.970" v="36036" actId="20577"/>
          <ac:spMkLst>
            <pc:docMk/>
            <pc:sldMk cId="2701412712" sldId="7332"/>
            <ac:spMk id="191" creationId="{68141EF3-103D-4CBC-ACBA-73980BC4CB3F}"/>
          </ac:spMkLst>
        </pc:spChg>
        <pc:spChg chg="add mod">
          <ac:chgData name="Ugo MANTEL" userId="2d5b7065-31bb-4181-a7f8-a73bf0c30211" providerId="ADAL" clId="{2A660E2D-CD4C-439C-955B-BDD952B126F0}" dt="2021-03-08T15:01:23.954" v="36052" actId="20577"/>
          <ac:spMkLst>
            <pc:docMk/>
            <pc:sldMk cId="2701412712" sldId="7332"/>
            <ac:spMk id="192" creationId="{7031BA89-51F6-4588-9260-B156D18F9D2C}"/>
          </ac:spMkLst>
        </pc:spChg>
        <pc:spChg chg="mod">
          <ac:chgData name="Ugo MANTEL" userId="2d5b7065-31bb-4181-a7f8-a73bf0c30211" providerId="ADAL" clId="{2A660E2D-CD4C-439C-955B-BDD952B126F0}" dt="2021-03-08T14:08:58.289" v="34826"/>
          <ac:spMkLst>
            <pc:docMk/>
            <pc:sldMk cId="2701412712" sldId="7332"/>
            <ac:spMk id="219" creationId="{CA278E1B-2FC1-4324-9AE9-42BA72DACFC1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20" creationId="{D2D2AD5C-D7D9-423C-8411-EDE40062E9E7}"/>
          </ac:spMkLst>
        </pc:spChg>
        <pc:spChg chg="mod">
          <ac:chgData name="Ugo MANTEL" userId="2d5b7065-31bb-4181-a7f8-a73bf0c30211" providerId="ADAL" clId="{2A660E2D-CD4C-439C-955B-BDD952B126F0}" dt="2021-03-08T14:08:58.289" v="34825"/>
          <ac:spMkLst>
            <pc:docMk/>
            <pc:sldMk cId="2701412712" sldId="7332"/>
            <ac:spMk id="222" creationId="{1819E44A-4100-47F7-9CBC-80805882C80C}"/>
          </ac:spMkLst>
        </pc:spChg>
        <pc:spChg chg="mod">
          <ac:chgData name="Ugo MANTEL" userId="2d5b7065-31bb-4181-a7f8-a73bf0c30211" providerId="ADAL" clId="{2A660E2D-CD4C-439C-955B-BDD952B126F0}" dt="2021-03-08T14:08:58.288" v="34823"/>
          <ac:spMkLst>
            <pc:docMk/>
            <pc:sldMk cId="2701412712" sldId="7332"/>
            <ac:spMk id="223" creationId="{3E2BACA9-BCE9-45C6-94CC-F7E252A1E93D}"/>
          </ac:spMkLst>
        </pc:spChg>
        <pc:spChg chg="mod">
          <ac:chgData name="Ugo MANTEL" userId="2d5b7065-31bb-4181-a7f8-a73bf0c30211" providerId="ADAL" clId="{2A660E2D-CD4C-439C-955B-BDD952B126F0}" dt="2021-03-08T14:08:58.289" v="34824"/>
          <ac:spMkLst>
            <pc:docMk/>
            <pc:sldMk cId="2701412712" sldId="7332"/>
            <ac:spMk id="224" creationId="{B6418F71-ED95-4896-8D91-641FAE51336D}"/>
          </ac:spMkLst>
        </pc:spChg>
        <pc:spChg chg="mod ord">
          <ac:chgData name="Ugo MANTEL" userId="2d5b7065-31bb-4181-a7f8-a73bf0c30211" providerId="ADAL" clId="{2A660E2D-CD4C-439C-955B-BDD952B126F0}" dt="2021-03-08T14:08:58.291" v="34832"/>
          <ac:spMkLst>
            <pc:docMk/>
            <pc:sldMk cId="2701412712" sldId="7332"/>
            <ac:spMk id="255" creationId="{68CEB430-045A-4778-BFCA-54106FFB1A78}"/>
          </ac:spMkLst>
        </pc:spChg>
        <pc:spChg chg="mod ord">
          <ac:chgData name="Ugo MANTEL" userId="2d5b7065-31bb-4181-a7f8-a73bf0c30211" providerId="ADAL" clId="{2A660E2D-CD4C-439C-955B-BDD952B126F0}" dt="2021-03-08T14:08:58.295" v="34851"/>
          <ac:spMkLst>
            <pc:docMk/>
            <pc:sldMk cId="2701412712" sldId="7332"/>
            <ac:spMk id="259" creationId="{00DB6482-80EE-4A5D-B495-712C99801888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63" creationId="{2DD5C219-0A1E-4C91-9C3C-2ECADD6ECA72}"/>
          </ac:spMkLst>
        </pc:spChg>
        <pc:spChg chg="mod">
          <ac:chgData name="Ugo MANTEL" userId="2d5b7065-31bb-4181-a7f8-a73bf0c30211" providerId="ADAL" clId="{2A660E2D-CD4C-439C-955B-BDD952B126F0}" dt="2021-03-08T14:08:58.294" v="34848"/>
          <ac:spMkLst>
            <pc:docMk/>
            <pc:sldMk cId="2701412712" sldId="7332"/>
            <ac:spMk id="267" creationId="{BEC1A8A5-D147-4994-8DC5-E0EBD78F44D0}"/>
          </ac:spMkLst>
        </pc:spChg>
        <pc:spChg chg="mod">
          <ac:chgData name="Ugo MANTEL" userId="2d5b7065-31bb-4181-a7f8-a73bf0c30211" providerId="ADAL" clId="{2A660E2D-CD4C-439C-955B-BDD952B126F0}" dt="2021-03-08T14:08:58.291" v="34835"/>
          <ac:spMkLst>
            <pc:docMk/>
            <pc:sldMk cId="2701412712" sldId="7332"/>
            <ac:spMk id="272" creationId="{E2E776D2-D89A-4EFF-A45B-6D1ABB504DF5}"/>
          </ac:spMkLst>
        </pc:spChg>
        <pc:spChg chg="add del mod">
          <ac:chgData name="Ugo MANTEL" userId="2d5b7065-31bb-4181-a7f8-a73bf0c30211" providerId="ADAL" clId="{2A660E2D-CD4C-439C-955B-BDD952B126F0}" dt="2021-03-08T09:32:08.895" v="2995"/>
          <ac:spMkLst>
            <pc:docMk/>
            <pc:sldMk cId="2701412712" sldId="7332"/>
            <ac:spMk id="276" creationId="{6F65F8CB-9D10-4F78-A158-2B46AD4D803E}"/>
          </ac:spMkLst>
        </pc:spChg>
        <pc:spChg chg="add del mod">
          <ac:chgData name="Ugo MANTEL" userId="2d5b7065-31bb-4181-a7f8-a73bf0c30211" providerId="ADAL" clId="{2A660E2D-CD4C-439C-955B-BDD952B126F0}" dt="2021-03-08T09:32:08.898" v="2999"/>
          <ac:spMkLst>
            <pc:docMk/>
            <pc:sldMk cId="2701412712" sldId="7332"/>
            <ac:spMk id="277" creationId="{53779CEF-2E9A-47B0-806C-E56969DA717C}"/>
          </ac:spMkLst>
        </pc:spChg>
        <pc:spChg chg="add del mod">
          <ac:chgData name="Ugo MANTEL" userId="2d5b7065-31bb-4181-a7f8-a73bf0c30211" providerId="ADAL" clId="{2A660E2D-CD4C-439C-955B-BDD952B126F0}" dt="2021-03-08T09:32:08.901" v="3003"/>
          <ac:spMkLst>
            <pc:docMk/>
            <pc:sldMk cId="2701412712" sldId="7332"/>
            <ac:spMk id="278" creationId="{EC945C6A-3C5F-481B-BE9C-7F8AA8CBABDA}"/>
          </ac:spMkLst>
        </pc:spChg>
        <pc:spChg chg="add del mod">
          <ac:chgData name="Ugo MANTEL" userId="2d5b7065-31bb-4181-a7f8-a73bf0c30211" providerId="ADAL" clId="{2A660E2D-CD4C-439C-955B-BDD952B126F0}" dt="2021-03-08T09:32:08.903" v="3007"/>
          <ac:spMkLst>
            <pc:docMk/>
            <pc:sldMk cId="2701412712" sldId="7332"/>
            <ac:spMk id="279" creationId="{211BA00C-105F-42D6-8410-62A04BCDEA02}"/>
          </ac:spMkLst>
        </pc:spChg>
        <pc:spChg chg="add del mod">
          <ac:chgData name="Ugo MANTEL" userId="2d5b7065-31bb-4181-a7f8-a73bf0c30211" providerId="ADAL" clId="{2A660E2D-CD4C-439C-955B-BDD952B126F0}" dt="2021-03-08T09:32:08.906" v="3011"/>
          <ac:spMkLst>
            <pc:docMk/>
            <pc:sldMk cId="2701412712" sldId="7332"/>
            <ac:spMk id="280" creationId="{41E68B69-EC70-4675-8E6A-15706FA87691}"/>
          </ac:spMkLst>
        </pc:spChg>
        <pc:spChg chg="add del mod">
          <ac:chgData name="Ugo MANTEL" userId="2d5b7065-31bb-4181-a7f8-a73bf0c30211" providerId="ADAL" clId="{2A660E2D-CD4C-439C-955B-BDD952B126F0}" dt="2021-03-08T09:31:45.894" v="2475"/>
          <ac:spMkLst>
            <pc:docMk/>
            <pc:sldMk cId="2701412712" sldId="7332"/>
            <ac:spMk id="281" creationId="{6BFCE5FD-2465-4B77-9B68-FF0A35914D94}"/>
          </ac:spMkLst>
        </pc:spChg>
        <pc:spChg chg="add del mod ord">
          <ac:chgData name="Ugo MANTEL" userId="2d5b7065-31bb-4181-a7f8-a73bf0c30211" providerId="ADAL" clId="{2A660E2D-CD4C-439C-955B-BDD952B126F0}" dt="2021-03-08T09:31:45.480" v="2331"/>
          <ac:spMkLst>
            <pc:docMk/>
            <pc:sldMk cId="2701412712" sldId="7332"/>
            <ac:spMk id="282" creationId="{5CB0B267-DA84-4244-8FA5-78E736F10122}"/>
          </ac:spMkLst>
        </pc:spChg>
        <pc:spChg chg="add del mod">
          <ac:chgData name="Ugo MANTEL" userId="2d5b7065-31bb-4181-a7f8-a73bf0c30211" providerId="ADAL" clId="{2A660E2D-CD4C-439C-955B-BDD952B126F0}" dt="2021-03-08T09:31:45.467" v="2310"/>
          <ac:spMkLst>
            <pc:docMk/>
            <pc:sldMk cId="2701412712" sldId="7332"/>
            <ac:spMk id="283" creationId="{F839E05B-6C68-4B1E-918A-ADC814ABE7F9}"/>
          </ac:spMkLst>
        </pc:spChg>
        <pc:spChg chg="add del mod ord">
          <ac:chgData name="Ugo MANTEL" userId="2d5b7065-31bb-4181-a7f8-a73bf0c30211" providerId="ADAL" clId="{2A660E2D-CD4C-439C-955B-BDD952B126F0}" dt="2021-03-08T09:31:45.447" v="2287"/>
          <ac:spMkLst>
            <pc:docMk/>
            <pc:sldMk cId="2701412712" sldId="7332"/>
            <ac:spMk id="284" creationId="{31B4D308-3B93-4260-9D2E-BFA4F97DDAEB}"/>
          </ac:spMkLst>
        </pc:spChg>
        <pc:spChg chg="add del mod">
          <ac:chgData name="Ugo MANTEL" userId="2d5b7065-31bb-4181-a7f8-a73bf0c30211" providerId="ADAL" clId="{2A660E2D-CD4C-439C-955B-BDD952B126F0}" dt="2021-03-08T09:31:45.895" v="2476"/>
          <ac:spMkLst>
            <pc:docMk/>
            <pc:sldMk cId="2701412712" sldId="7332"/>
            <ac:spMk id="285" creationId="{D664FF17-326F-4049-8190-DD91D6A1C917}"/>
          </ac:spMkLst>
        </pc:spChg>
        <pc:spChg chg="add del mod">
          <ac:chgData name="Ugo MANTEL" userId="2d5b7065-31bb-4181-a7f8-a73bf0c30211" providerId="ADAL" clId="{2A660E2D-CD4C-439C-955B-BDD952B126F0}" dt="2021-03-08T09:31:45.482" v="2334"/>
          <ac:spMkLst>
            <pc:docMk/>
            <pc:sldMk cId="2701412712" sldId="7332"/>
            <ac:spMk id="287" creationId="{2326E538-D780-43B7-95D1-DB5B06DC6D91}"/>
          </ac:spMkLst>
        </pc:spChg>
        <pc:spChg chg="mod">
          <ac:chgData name="Ugo MANTEL" userId="2d5b7065-31bb-4181-a7f8-a73bf0c30211" providerId="ADAL" clId="{2A660E2D-CD4C-439C-955B-BDD952B126F0}" dt="2021-03-08T14:08:58.291" v="34838"/>
          <ac:spMkLst>
            <pc:docMk/>
            <pc:sldMk cId="2701412712" sldId="7332"/>
            <ac:spMk id="288" creationId="{EAF36915-6B90-46A9-A15F-822637FDA16A}"/>
          </ac:spMkLst>
        </pc:spChg>
        <pc:spChg chg="mod ord">
          <ac:chgData name="Ugo MANTEL" userId="2d5b7065-31bb-4181-a7f8-a73bf0c30211" providerId="ADAL" clId="{2A660E2D-CD4C-439C-955B-BDD952B126F0}" dt="2021-03-08T14:08:58.295" v="34854"/>
          <ac:spMkLst>
            <pc:docMk/>
            <pc:sldMk cId="2701412712" sldId="7332"/>
            <ac:spMk id="289" creationId="{81A31DB8-99C4-4548-81F7-3EA9E7029446}"/>
          </ac:spMkLst>
        </pc:spChg>
        <pc:spChg chg="add del mod">
          <ac:chgData name="Ugo MANTEL" userId="2d5b7065-31bb-4181-a7f8-a73bf0c30211" providerId="ADAL" clId="{2A660E2D-CD4C-439C-955B-BDD952B126F0}" dt="2021-03-08T09:31:45.469" v="2313"/>
          <ac:spMkLst>
            <pc:docMk/>
            <pc:sldMk cId="2701412712" sldId="7332"/>
            <ac:spMk id="290" creationId="{D4EED8BC-4A82-49FB-999B-5EEE1851D222}"/>
          </ac:spMkLst>
        </pc:spChg>
        <pc:spChg chg="add del mod">
          <ac:chgData name="Ugo MANTEL" userId="2d5b7065-31bb-4181-a7f8-a73bf0c30211" providerId="ADAL" clId="{2A660E2D-CD4C-439C-955B-BDD952B126F0}" dt="2021-03-08T09:31:45.453" v="2290"/>
          <ac:spMkLst>
            <pc:docMk/>
            <pc:sldMk cId="2701412712" sldId="7332"/>
            <ac:spMk id="291" creationId="{4B3D6C64-24F4-4E7C-B240-A88D675E8602}"/>
          </ac:spMkLst>
        </pc:spChg>
        <pc:spChg chg="add del mod">
          <ac:chgData name="Ugo MANTEL" userId="2d5b7065-31bb-4181-a7f8-a73bf0c30211" providerId="ADAL" clId="{2A660E2D-CD4C-439C-955B-BDD952B126F0}" dt="2021-03-08T09:31:45.895" v="2477"/>
          <ac:spMkLst>
            <pc:docMk/>
            <pc:sldMk cId="2701412712" sldId="7332"/>
            <ac:spMk id="293" creationId="{08AEC580-93B7-41E3-90BE-29B106759A28}"/>
          </ac:spMkLst>
        </pc:spChg>
        <pc:spChg chg="add del mod">
          <ac:chgData name="Ugo MANTEL" userId="2d5b7065-31bb-4181-a7f8-a73bf0c30211" providerId="ADAL" clId="{2A660E2D-CD4C-439C-955B-BDD952B126F0}" dt="2021-03-08T09:31:45.485" v="2337"/>
          <ac:spMkLst>
            <pc:docMk/>
            <pc:sldMk cId="2701412712" sldId="7332"/>
            <ac:spMk id="294" creationId="{520E7456-D54B-460D-AF63-1C805DAE7914}"/>
          </ac:spMkLst>
        </pc:spChg>
        <pc:spChg chg="add del mod ord">
          <ac:chgData name="Ugo MANTEL" userId="2d5b7065-31bb-4181-a7f8-a73bf0c30211" providerId="ADAL" clId="{2A660E2D-CD4C-439C-955B-BDD952B126F0}" dt="2021-03-08T09:31:45.470" v="2315"/>
          <ac:spMkLst>
            <pc:docMk/>
            <pc:sldMk cId="2701412712" sldId="7332"/>
            <ac:spMk id="295" creationId="{FE8531F5-E3ED-4460-A1C0-B28826D530F8}"/>
          </ac:spMkLst>
        </pc:spChg>
        <pc:spChg chg="mod">
          <ac:chgData name="Ugo MANTEL" userId="2d5b7065-31bb-4181-a7f8-a73bf0c30211" providerId="ADAL" clId="{2A660E2D-CD4C-439C-955B-BDD952B126F0}" dt="2021-03-08T14:08:58.290" v="34830"/>
          <ac:spMkLst>
            <pc:docMk/>
            <pc:sldMk cId="2701412712" sldId="7332"/>
            <ac:spMk id="296" creationId="{F3E8D5A5-F2FF-4E71-84E2-BE238D102ABF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297" creationId="{73192C54-BCE2-466F-A521-55F015D7D8E4}"/>
          </ac:spMkLst>
        </pc:spChg>
        <pc:spChg chg="add del mod">
          <ac:chgData name="Ugo MANTEL" userId="2d5b7065-31bb-4181-a7f8-a73bf0c30211" providerId="ADAL" clId="{2A660E2D-CD4C-439C-955B-BDD952B126F0}" dt="2021-03-08T09:31:45.455" v="2293"/>
          <ac:spMkLst>
            <pc:docMk/>
            <pc:sldMk cId="2701412712" sldId="7332"/>
            <ac:spMk id="298" creationId="{0991D679-FFE6-4015-9E07-D0EE2C877B7D}"/>
          </ac:spMkLst>
        </pc:spChg>
        <pc:spChg chg="add del mod">
          <ac:chgData name="Ugo MANTEL" userId="2d5b7065-31bb-4181-a7f8-a73bf0c30211" providerId="ADAL" clId="{2A660E2D-CD4C-439C-955B-BDD952B126F0}" dt="2021-03-08T09:31:45.487" v="2340"/>
          <ac:spMkLst>
            <pc:docMk/>
            <pc:sldMk cId="2701412712" sldId="7332"/>
            <ac:spMk id="299" creationId="{551A4F47-82A6-43F9-BBE9-AB096E6F52B8}"/>
          </ac:spMkLst>
        </pc:spChg>
        <pc:spChg chg="add del mod">
          <ac:chgData name="Ugo MANTEL" userId="2d5b7065-31bb-4181-a7f8-a73bf0c30211" providerId="ADAL" clId="{2A660E2D-CD4C-439C-955B-BDD952B126F0}" dt="2021-03-08T09:31:45.472" v="2318"/>
          <ac:spMkLst>
            <pc:docMk/>
            <pc:sldMk cId="2701412712" sldId="7332"/>
            <ac:spMk id="300" creationId="{BD10ECE4-8FA8-47B2-8F21-16C2F3169FC4}"/>
          </ac:spMkLst>
        </pc:spChg>
        <pc:spChg chg="add del mod">
          <ac:chgData name="Ugo MANTEL" userId="2d5b7065-31bb-4181-a7f8-a73bf0c30211" providerId="ADAL" clId="{2A660E2D-CD4C-439C-955B-BDD952B126F0}" dt="2021-03-08T09:31:45.457" v="2296"/>
          <ac:spMkLst>
            <pc:docMk/>
            <pc:sldMk cId="2701412712" sldId="7332"/>
            <ac:spMk id="301" creationId="{0BB8D73B-C463-48D7-8304-DDB0A45EF41E}"/>
          </ac:spMkLst>
        </pc:spChg>
        <pc:spChg chg="add del mod">
          <ac:chgData name="Ugo MANTEL" userId="2d5b7065-31bb-4181-a7f8-a73bf0c30211" providerId="ADAL" clId="{2A660E2D-CD4C-439C-955B-BDD952B126F0}" dt="2021-03-08T09:31:45.896" v="2478"/>
          <ac:spMkLst>
            <pc:docMk/>
            <pc:sldMk cId="2701412712" sldId="7332"/>
            <ac:spMk id="302" creationId="{6BEA51CB-B0F2-48CB-8BB1-5EF42EB1CE58}"/>
          </ac:spMkLst>
        </pc:spChg>
        <pc:spChg chg="add del mod">
          <ac:chgData name="Ugo MANTEL" userId="2d5b7065-31bb-4181-a7f8-a73bf0c30211" providerId="ADAL" clId="{2A660E2D-CD4C-439C-955B-BDD952B126F0}" dt="2021-03-08T09:31:45.488" v="2341"/>
          <ac:spMkLst>
            <pc:docMk/>
            <pc:sldMk cId="2701412712" sldId="7332"/>
            <ac:spMk id="303" creationId="{22A7A372-E3B3-489F-B47D-793FEE02128B}"/>
          </ac:spMkLst>
        </pc:spChg>
        <pc:spChg chg="add del mod">
          <ac:chgData name="Ugo MANTEL" userId="2d5b7065-31bb-4181-a7f8-a73bf0c30211" providerId="ADAL" clId="{2A660E2D-CD4C-439C-955B-BDD952B126F0}" dt="2021-03-08T09:31:45.473" v="2319"/>
          <ac:spMkLst>
            <pc:docMk/>
            <pc:sldMk cId="2701412712" sldId="7332"/>
            <ac:spMk id="305" creationId="{0863B533-A2D4-4ED0-815B-4DEA919620B8}"/>
          </ac:spMkLst>
        </pc:spChg>
        <pc:spChg chg="add del mod">
          <ac:chgData name="Ugo MANTEL" userId="2d5b7065-31bb-4181-a7f8-a73bf0c30211" providerId="ADAL" clId="{2A660E2D-CD4C-439C-955B-BDD952B126F0}" dt="2021-03-08T09:31:45.458" v="2297"/>
          <ac:spMkLst>
            <pc:docMk/>
            <pc:sldMk cId="2701412712" sldId="7332"/>
            <ac:spMk id="306" creationId="{0FB1406C-B5D7-4B3C-9F4C-98F566024398}"/>
          </ac:spMkLst>
        </pc:spChg>
        <pc:spChg chg="add del mod">
          <ac:chgData name="Ugo MANTEL" userId="2d5b7065-31bb-4181-a7f8-a73bf0c30211" providerId="ADAL" clId="{2A660E2D-CD4C-439C-955B-BDD952B126F0}" dt="2021-03-08T09:31:45.897" v="2479"/>
          <ac:spMkLst>
            <pc:docMk/>
            <pc:sldMk cId="2701412712" sldId="7332"/>
            <ac:spMk id="307" creationId="{E860E13A-AE43-48D4-873B-0AFB29162125}"/>
          </ac:spMkLst>
        </pc:spChg>
        <pc:spChg chg="add del mod">
          <ac:chgData name="Ugo MANTEL" userId="2d5b7065-31bb-4181-a7f8-a73bf0c30211" providerId="ADAL" clId="{2A660E2D-CD4C-439C-955B-BDD952B126F0}" dt="2021-03-08T09:31:45.490" v="2344"/>
          <ac:spMkLst>
            <pc:docMk/>
            <pc:sldMk cId="2701412712" sldId="7332"/>
            <ac:spMk id="309" creationId="{22B0DAAF-0686-4DFF-A323-9275A51036D6}"/>
          </ac:spMkLst>
        </pc:spChg>
        <pc:spChg chg="add del mod">
          <ac:chgData name="Ugo MANTEL" userId="2d5b7065-31bb-4181-a7f8-a73bf0c30211" providerId="ADAL" clId="{2A660E2D-CD4C-439C-955B-BDD952B126F0}" dt="2021-03-08T09:31:45.475" v="2322"/>
          <ac:spMkLst>
            <pc:docMk/>
            <pc:sldMk cId="2701412712" sldId="7332"/>
            <ac:spMk id="310" creationId="{42261DBF-BB8D-4BC3-89C6-9276E5DEA681}"/>
          </ac:spMkLst>
        </pc:spChg>
        <pc:spChg chg="add del mod ord">
          <ac:chgData name="Ugo MANTEL" userId="2d5b7065-31bb-4181-a7f8-a73bf0c30211" providerId="ADAL" clId="{2A660E2D-CD4C-439C-955B-BDD952B126F0}" dt="2021-03-08T09:31:45.460" v="2299"/>
          <ac:spMkLst>
            <pc:docMk/>
            <pc:sldMk cId="2701412712" sldId="7332"/>
            <ac:spMk id="311" creationId="{3A1BC4EA-19B2-46A2-A2D0-27E96447FBDC}"/>
          </ac:spMkLst>
        </pc:spChg>
        <pc:spChg chg="add del mod">
          <ac:chgData name="Ugo MANTEL" userId="2d5b7065-31bb-4181-a7f8-a73bf0c30211" providerId="ADAL" clId="{2A660E2D-CD4C-439C-955B-BDD952B126F0}" dt="2021-03-08T09:31:45.897" v="2480"/>
          <ac:spMkLst>
            <pc:docMk/>
            <pc:sldMk cId="2701412712" sldId="7332"/>
            <ac:spMk id="312" creationId="{2D411E26-C0DD-433D-A4EF-3546575266CC}"/>
          </ac:spMkLst>
        </pc:spChg>
        <pc:spChg chg="add del mod">
          <ac:chgData name="Ugo MANTEL" userId="2d5b7065-31bb-4181-a7f8-a73bf0c30211" providerId="ADAL" clId="{2A660E2D-CD4C-439C-955B-BDD952B126F0}" dt="2021-03-08T09:31:45.492" v="2347"/>
          <ac:spMkLst>
            <pc:docMk/>
            <pc:sldMk cId="2701412712" sldId="7332"/>
            <ac:spMk id="313" creationId="{6813AE48-AD18-4115-A959-A75F7427BCC0}"/>
          </ac:spMkLst>
        </pc:spChg>
        <pc:spChg chg="add del mod ord">
          <ac:chgData name="Ugo MANTEL" userId="2d5b7065-31bb-4181-a7f8-a73bf0c30211" providerId="ADAL" clId="{2A660E2D-CD4C-439C-955B-BDD952B126F0}" dt="2021-03-08T09:31:45.476" v="2324"/>
          <ac:spMkLst>
            <pc:docMk/>
            <pc:sldMk cId="2701412712" sldId="7332"/>
            <ac:spMk id="314" creationId="{8485EFD2-5872-422B-ACEE-4250843F3CF5}"/>
          </ac:spMkLst>
        </pc:spChg>
        <pc:spChg chg="add del mod">
          <ac:chgData name="Ugo MANTEL" userId="2d5b7065-31bb-4181-a7f8-a73bf0c30211" providerId="ADAL" clId="{2A660E2D-CD4C-439C-955B-BDD952B126F0}" dt="2021-03-08T09:31:45.462" v="2302"/>
          <ac:spMkLst>
            <pc:docMk/>
            <pc:sldMk cId="2701412712" sldId="7332"/>
            <ac:spMk id="315" creationId="{75AE8E26-3D42-40E5-81AD-DE660882AD2A}"/>
          </ac:spMkLst>
        </pc:spChg>
        <pc:spChg chg="add del mod">
          <ac:chgData name="Ugo MANTEL" userId="2d5b7065-31bb-4181-a7f8-a73bf0c30211" providerId="ADAL" clId="{2A660E2D-CD4C-439C-955B-BDD952B126F0}" dt="2021-03-08T09:31:45.898" v="2481"/>
          <ac:spMkLst>
            <pc:docMk/>
            <pc:sldMk cId="2701412712" sldId="7332"/>
            <ac:spMk id="316" creationId="{1F0BFE6D-8BC0-4775-B736-82EA15AB79BB}"/>
          </ac:spMkLst>
        </pc:spChg>
        <pc:spChg chg="add del mod">
          <ac:chgData name="Ugo MANTEL" userId="2d5b7065-31bb-4181-a7f8-a73bf0c30211" providerId="ADAL" clId="{2A660E2D-CD4C-439C-955B-BDD952B126F0}" dt="2021-03-08T09:31:45.494" v="2350"/>
          <ac:spMkLst>
            <pc:docMk/>
            <pc:sldMk cId="2701412712" sldId="7332"/>
            <ac:spMk id="317" creationId="{39F483CB-195B-4774-BE23-7E575F66D175}"/>
          </ac:spMkLst>
        </pc:spChg>
        <pc:spChg chg="add del mod ord">
          <ac:chgData name="Ugo MANTEL" userId="2d5b7065-31bb-4181-a7f8-a73bf0c30211" providerId="ADAL" clId="{2A660E2D-CD4C-439C-955B-BDD952B126F0}" dt="2021-03-08T09:31:45.477" v="2326"/>
          <ac:spMkLst>
            <pc:docMk/>
            <pc:sldMk cId="2701412712" sldId="7332"/>
            <ac:spMk id="318" creationId="{0B786EDC-614D-4B27-95E6-7B677C51639C}"/>
          </ac:spMkLst>
        </pc:spChg>
        <pc:spChg chg="add del mod">
          <ac:chgData name="Ugo MANTEL" userId="2d5b7065-31bb-4181-a7f8-a73bf0c30211" providerId="ADAL" clId="{2A660E2D-CD4C-439C-955B-BDD952B126F0}" dt="2021-03-08T09:31:45.464" v="2305"/>
          <ac:spMkLst>
            <pc:docMk/>
            <pc:sldMk cId="2701412712" sldId="7332"/>
            <ac:spMk id="319" creationId="{DA39F5F2-9E00-4557-B094-B33F86E83A5C}"/>
          </ac:spMkLst>
        </pc:spChg>
        <pc:spChg chg="add del mod">
          <ac:chgData name="Ugo MANTEL" userId="2d5b7065-31bb-4181-a7f8-a73bf0c30211" providerId="ADAL" clId="{2A660E2D-CD4C-439C-955B-BDD952B126F0}" dt="2021-03-08T09:31:45.899" v="2482"/>
          <ac:spMkLst>
            <pc:docMk/>
            <pc:sldMk cId="2701412712" sldId="7332"/>
            <ac:spMk id="320" creationId="{6E863463-B00A-4AA5-AB44-E1EBBB5FE678}"/>
          </ac:spMkLst>
        </pc:spChg>
        <pc:spChg chg="add del mod">
          <ac:chgData name="Ugo MANTEL" userId="2d5b7065-31bb-4181-a7f8-a73bf0c30211" providerId="ADAL" clId="{2A660E2D-CD4C-439C-955B-BDD952B126F0}" dt="2021-03-08T09:31:45.496" v="2353"/>
          <ac:spMkLst>
            <pc:docMk/>
            <pc:sldMk cId="2701412712" sldId="7332"/>
            <ac:spMk id="321" creationId="{BBB6454F-789E-40D6-8AF1-5B1FE867CACB}"/>
          </ac:spMkLst>
        </pc:spChg>
        <pc:spChg chg="add del mod">
          <ac:chgData name="Ugo MANTEL" userId="2d5b7065-31bb-4181-a7f8-a73bf0c30211" providerId="ADAL" clId="{2A660E2D-CD4C-439C-955B-BDD952B126F0}" dt="2021-03-08T09:31:45.479" v="2329"/>
          <ac:spMkLst>
            <pc:docMk/>
            <pc:sldMk cId="2701412712" sldId="7332"/>
            <ac:spMk id="322" creationId="{031E2167-5BF2-401F-AFBF-D7912F321BD0}"/>
          </ac:spMkLst>
        </pc:spChg>
        <pc:spChg chg="add del mod ord">
          <ac:chgData name="Ugo MANTEL" userId="2d5b7065-31bb-4181-a7f8-a73bf0c30211" providerId="ADAL" clId="{2A660E2D-CD4C-439C-955B-BDD952B126F0}" dt="2021-03-08T09:31:45.465" v="2307"/>
          <ac:spMkLst>
            <pc:docMk/>
            <pc:sldMk cId="2701412712" sldId="7332"/>
            <ac:spMk id="323" creationId="{C4CD6660-E9BC-4D92-BBAA-A28B3EB58C68}"/>
          </ac:spMkLst>
        </pc:spChg>
        <pc:spChg chg="mod">
          <ac:chgData name="Ugo MANTEL" userId="2d5b7065-31bb-4181-a7f8-a73bf0c30211" providerId="ADAL" clId="{2A660E2D-CD4C-439C-955B-BDD952B126F0}" dt="2021-03-08T14:08:58.295" v="34853"/>
          <ac:spMkLst>
            <pc:docMk/>
            <pc:sldMk cId="2701412712" sldId="7332"/>
            <ac:spMk id="329" creationId="{D50DF1BF-E8E1-441A-8845-000F39BED6EE}"/>
          </ac:spMkLst>
        </pc:spChg>
        <pc:spChg chg="add 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364" creationId="{8451D16B-D84D-482A-A648-2750F628332B}"/>
          </ac:spMkLst>
        </pc:spChg>
        <pc:spChg chg="add 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365" creationId="{7B9D39F4-D9E1-44B7-A08C-EF3E7594E2EB}"/>
          </ac:spMkLst>
        </pc:spChg>
        <pc:spChg chg="add 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366" creationId="{20775784-4961-4809-A261-CC17F3A47D0C}"/>
          </ac:spMkLst>
        </pc:spChg>
        <pc:spChg chg="add 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367" creationId="{39AFC2BA-3A2E-4D08-B9F4-61D23BD9FDA2}"/>
          </ac:spMkLst>
        </pc:spChg>
        <pc:spChg chg="add 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375" creationId="{75237AA5-C2C5-4937-A3E0-56A8D0BA8F46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517" creationId="{C440CC15-4AE3-4056-9425-7F7A210842B9}"/>
          </ac:spMkLst>
        </pc:spChg>
        <pc:spChg chg="mod ord">
          <ac:chgData name="Ugo MANTEL" userId="2d5b7065-31bb-4181-a7f8-a73bf0c30211" providerId="ADAL" clId="{2A660E2D-CD4C-439C-955B-BDD952B126F0}" dt="2021-03-08T14:09:03.453" v="35545"/>
          <ac:spMkLst>
            <pc:docMk/>
            <pc:sldMk cId="2701412712" sldId="7332"/>
            <ac:spMk id="518" creationId="{157B2CC6-7B52-42E8-AFB0-C3044E16B40A}"/>
          </ac:spMkLst>
        </pc:spChg>
        <pc:spChg chg="mod">
          <ac:chgData name="Ugo MANTEL" userId="2d5b7065-31bb-4181-a7f8-a73bf0c30211" providerId="ADAL" clId="{2A660E2D-CD4C-439C-955B-BDD952B126F0}" dt="2021-03-08T14:08:58.293" v="34843"/>
          <ac:spMkLst>
            <pc:docMk/>
            <pc:sldMk cId="2701412712" sldId="7332"/>
            <ac:spMk id="522" creationId="{58D131E2-9FEE-400C-9752-106D76B01B3B}"/>
          </ac:spMkLst>
        </pc:spChg>
        <pc:spChg chg="mod">
          <ac:chgData name="Ugo MANTEL" userId="2d5b7065-31bb-4181-a7f8-a73bf0c30211" providerId="ADAL" clId="{2A660E2D-CD4C-439C-955B-BDD952B126F0}" dt="2021-03-08T14:08:58.293" v="34844"/>
          <ac:spMkLst>
            <pc:docMk/>
            <pc:sldMk cId="2701412712" sldId="7332"/>
            <ac:spMk id="525" creationId="{2A182D36-6F04-41A8-8378-E861F36D826D}"/>
          </ac:spMkLst>
        </pc:spChg>
        <pc:spChg chg="mod ord">
          <ac:chgData name="Ugo MANTEL" userId="2d5b7065-31bb-4181-a7f8-a73bf0c30211" providerId="ADAL" clId="{2A660E2D-CD4C-439C-955B-BDD952B126F0}" dt="2021-03-08T14:08:58.293" v="34845"/>
          <ac:spMkLst>
            <pc:docMk/>
            <pc:sldMk cId="2701412712" sldId="7332"/>
            <ac:spMk id="528" creationId="{BD3A1620-027C-4D80-AF03-BF7FF0113D73}"/>
          </ac:spMkLst>
        </pc:spChg>
        <pc:spChg chg="mod">
          <ac:chgData name="Ugo MANTEL" userId="2d5b7065-31bb-4181-a7f8-a73bf0c30211" providerId="ADAL" clId="{2A660E2D-CD4C-439C-955B-BDD952B126F0}" dt="2021-03-08T14:08:58.293" v="34846"/>
          <ac:spMkLst>
            <pc:docMk/>
            <pc:sldMk cId="2701412712" sldId="7332"/>
            <ac:spMk id="531" creationId="{2A507AB9-B0CA-47BA-BE9F-E1401C93FD5B}"/>
          </ac:spMkLst>
        </pc:spChg>
        <pc:spChg chg="mod">
          <ac:chgData name="Ugo MANTEL" userId="2d5b7065-31bb-4181-a7f8-a73bf0c30211" providerId="ADAL" clId="{2A660E2D-CD4C-439C-955B-BDD952B126F0}" dt="2021-03-08T14:09:02.676" v="35161"/>
          <ac:spMkLst>
            <pc:docMk/>
            <pc:sldMk cId="2701412712" sldId="7332"/>
            <ac:spMk id="553" creationId="{5FF8C4CA-A034-4CDD-A5B8-BFAFBBC2DBC2}"/>
          </ac:spMkLst>
        </pc:spChg>
        <pc:spChg chg="add del mod ord modVis">
          <ac:chgData name="Ugo MANTEL" userId="2d5b7065-31bb-4181-a7f8-a73bf0c30211" providerId="ADAL" clId="{2A660E2D-CD4C-439C-955B-BDD952B126F0}" dt="2021-03-08T09:31:38.458" v="2283"/>
          <ac:spMkLst>
            <pc:docMk/>
            <pc:sldMk cId="2701412712" sldId="7332"/>
            <ac:spMk id="562" creationId="{D0B2D475-C157-4AA7-9FEF-F8F41A012355}"/>
          </ac:spMkLst>
        </pc:spChg>
        <pc:spChg chg="add del mod ord modVis">
          <ac:chgData name="Ugo MANTEL" userId="2d5b7065-31bb-4181-a7f8-a73bf0c30211" providerId="ADAL" clId="{2A660E2D-CD4C-439C-955B-BDD952B126F0}" dt="2021-03-08T09:31:46.504" v="2986"/>
          <ac:spMkLst>
            <pc:docMk/>
            <pc:sldMk cId="2701412712" sldId="7332"/>
            <ac:spMk id="576" creationId="{C733CC16-7D53-44CD-847B-D37CFFDD3848}"/>
          </ac:spMkLst>
        </pc:spChg>
        <pc:spChg chg="add del mod">
          <ac:chgData name="Ugo MANTEL" userId="2d5b7065-31bb-4181-a7f8-a73bf0c30211" providerId="ADAL" clId="{2A660E2D-CD4C-439C-955B-BDD952B126F0}" dt="2021-03-08T09:32:08.888" v="2992"/>
          <ac:spMkLst>
            <pc:docMk/>
            <pc:sldMk cId="2701412712" sldId="7332"/>
            <ac:spMk id="578" creationId="{CBC82873-9201-494B-9CEB-1AFFBC0A015E}"/>
          </ac:spMkLst>
        </pc:spChg>
        <pc:spChg chg="add del mod">
          <ac:chgData name="Ugo MANTEL" userId="2d5b7065-31bb-4181-a7f8-a73bf0c30211" providerId="ADAL" clId="{2A660E2D-CD4C-439C-955B-BDD952B126F0}" dt="2021-03-08T09:32:08.896" v="2996"/>
          <ac:spMkLst>
            <pc:docMk/>
            <pc:sldMk cId="2701412712" sldId="7332"/>
            <ac:spMk id="579" creationId="{1822B633-6284-44E3-B958-7F3D0D2FE412}"/>
          </ac:spMkLst>
        </pc:spChg>
        <pc:spChg chg="add del mod">
          <ac:chgData name="Ugo MANTEL" userId="2d5b7065-31bb-4181-a7f8-a73bf0c30211" providerId="ADAL" clId="{2A660E2D-CD4C-439C-955B-BDD952B126F0}" dt="2021-03-08T09:32:08.899" v="3000"/>
          <ac:spMkLst>
            <pc:docMk/>
            <pc:sldMk cId="2701412712" sldId="7332"/>
            <ac:spMk id="581" creationId="{0CC6876D-7363-4B8A-AADD-D67D6B08D5F7}"/>
          </ac:spMkLst>
        </pc:spChg>
        <pc:spChg chg="add del mod">
          <ac:chgData name="Ugo MANTEL" userId="2d5b7065-31bb-4181-a7f8-a73bf0c30211" providerId="ADAL" clId="{2A660E2D-CD4C-439C-955B-BDD952B126F0}" dt="2021-03-08T09:32:08.901" v="3004"/>
          <ac:spMkLst>
            <pc:docMk/>
            <pc:sldMk cId="2701412712" sldId="7332"/>
            <ac:spMk id="582" creationId="{7C6277D8-AD6D-4C29-B528-8044F10107A1}"/>
          </ac:spMkLst>
        </pc:spChg>
        <pc:spChg chg="add del mod">
          <ac:chgData name="Ugo MANTEL" userId="2d5b7065-31bb-4181-a7f8-a73bf0c30211" providerId="ADAL" clId="{2A660E2D-CD4C-439C-955B-BDD952B126F0}" dt="2021-03-08T09:32:08.904" v="3008"/>
          <ac:spMkLst>
            <pc:docMk/>
            <pc:sldMk cId="2701412712" sldId="7332"/>
            <ac:spMk id="583" creationId="{15E1F8E5-CC9F-46FA-8319-D62EBB1273A7}"/>
          </ac:spMkLst>
        </pc:spChg>
        <pc:spChg chg="add del mod modVis">
          <ac:chgData name="Ugo MANTEL" userId="2d5b7065-31bb-4181-a7f8-a73bf0c30211" providerId="ADAL" clId="{2A660E2D-CD4C-439C-955B-BDD952B126F0}" dt="2021-03-08T09:33:05.104" v="3645"/>
          <ac:spMkLst>
            <pc:docMk/>
            <pc:sldMk cId="2701412712" sldId="7332"/>
            <ac:spMk id="584" creationId="{BC0CCE28-3C3B-4349-89DA-2B75F6F6CAC1}"/>
          </ac:spMkLst>
        </pc:spChg>
        <pc:grpChg chg="add del mod">
          <ac:chgData name="Ugo MANTEL" userId="2d5b7065-31bb-4181-a7f8-a73bf0c30211" providerId="ADAL" clId="{2A660E2D-CD4C-439C-955B-BDD952B126F0}" dt="2021-03-08T09:33:26.692" v="3651" actId="478"/>
          <ac:grpSpMkLst>
            <pc:docMk/>
            <pc:sldMk cId="2701412712" sldId="7332"/>
            <ac:grpSpMk id="371" creationId="{DBC9CD16-1E1A-414A-B027-2E2E861CFAFD}"/>
          </ac:grpSpMkLst>
        </pc:grpChg>
        <pc:graphicFrameChg chg="mod ord">
          <ac:chgData name="Ugo MANTEL" userId="2d5b7065-31bb-4181-a7f8-a73bf0c30211" providerId="ADAL" clId="{2A660E2D-CD4C-439C-955B-BDD952B126F0}" dt="2021-03-08T14:09:03.457" v="35547"/>
          <ac:graphicFrameMkLst>
            <pc:docMk/>
            <pc:sldMk cId="2701412712" sldId="7332"/>
            <ac:graphicFrameMk id="9" creationId="{777857E2-6DF1-48EF-BB3F-BB1531140D04}"/>
          </ac:graphicFrameMkLst>
        </pc:graphicFrameChg>
        <pc:graphicFrameChg chg="del">
          <ac:chgData name="Ugo MANTEL" userId="2d5b7065-31bb-4181-a7f8-a73bf0c30211" providerId="ADAL" clId="{2A660E2D-CD4C-439C-955B-BDD952B126F0}" dt="2021-03-08T13:53:06.260" v="26688"/>
          <ac:graphicFrameMkLst>
            <pc:docMk/>
            <pc:sldMk cId="2701412712" sldId="7332"/>
            <ac:graphicFrameMk id="106" creationId="{C6E861D8-FF50-4A9D-8C9E-FA26DFC92865}"/>
          </ac:graphicFrameMkLst>
        </pc:graphicFrameChg>
        <pc:graphicFrameChg chg="del mod ord">
          <ac:chgData name="Ugo MANTEL" userId="2d5b7065-31bb-4181-a7f8-a73bf0c30211" providerId="ADAL" clId="{2A660E2D-CD4C-439C-955B-BDD952B126F0}" dt="2021-03-08T13:53:18.891" v="27251"/>
          <ac:graphicFrameMkLst>
            <pc:docMk/>
            <pc:sldMk cId="2701412712" sldId="7332"/>
            <ac:graphicFrameMk id="108" creationId="{42210475-EE06-4FF6-9CAB-C4715876183A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08.344" v="26888"/>
          <ac:graphicFrameMkLst>
            <pc:docMk/>
            <pc:sldMk cId="2701412712" sldId="7332"/>
            <ac:graphicFrameMk id="109" creationId="{5504F549-FAD0-4ADE-AE7B-83725F34808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37.147" v="33276"/>
          <ac:graphicFrameMkLst>
            <pc:docMk/>
            <pc:sldMk cId="2701412712" sldId="7332"/>
            <ac:graphicFrameMk id="110" creationId="{9C191BB3-1AFA-48B1-8E98-B6813F6C8C3F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23.995" v="27491"/>
          <ac:graphicFrameMkLst>
            <pc:docMk/>
            <pc:sldMk cId="2701412712" sldId="7332"/>
            <ac:graphicFrameMk id="111" creationId="{1608AEA4-E289-487B-917B-3E9E2BD5178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24.667" v="27731"/>
          <ac:graphicFrameMkLst>
            <pc:docMk/>
            <pc:sldMk cId="2701412712" sldId="7332"/>
            <ac:graphicFrameMk id="112" creationId="{2CF3BE42-6428-4E80-BA39-F38EEA742B9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26.371" v="27972"/>
          <ac:graphicFrameMkLst>
            <pc:docMk/>
            <pc:sldMk cId="2701412712" sldId="7332"/>
            <ac:graphicFrameMk id="114" creationId="{4CAA30D5-74E4-4A3B-9330-A76AB6DB528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29.335" v="28209"/>
          <ac:graphicFrameMkLst>
            <pc:docMk/>
            <pc:sldMk cId="2701412712" sldId="7332"/>
            <ac:graphicFrameMk id="116" creationId="{47FE6A5C-F1BD-426D-9385-7C97F361C7E3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30.268" v="28449"/>
          <ac:graphicFrameMkLst>
            <pc:docMk/>
            <pc:sldMk cId="2701412712" sldId="7332"/>
            <ac:graphicFrameMk id="118" creationId="{79D77A73-AD54-450A-89C2-E8874C39A8F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32.046" v="28694"/>
          <ac:graphicFrameMkLst>
            <pc:docMk/>
            <pc:sldMk cId="2701412712" sldId="7332"/>
            <ac:graphicFrameMk id="120" creationId="{77474D28-F8BE-4D0B-88F6-E15F9546EB7B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32.714" v="28934"/>
          <ac:graphicFrameMkLst>
            <pc:docMk/>
            <pc:sldMk cId="2701412712" sldId="7332"/>
            <ac:graphicFrameMk id="122" creationId="{9F337165-37FD-4A3D-9C17-8BED5AE1F366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35.456" v="29134"/>
          <ac:graphicFrameMkLst>
            <pc:docMk/>
            <pc:sldMk cId="2701412712" sldId="7332"/>
            <ac:graphicFrameMk id="124" creationId="{E2D0053D-9AE3-4793-B0AE-88876F7A35B6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43.950" v="29596"/>
          <ac:graphicFrameMkLst>
            <pc:docMk/>
            <pc:sldMk cId="2701412712" sldId="7332"/>
            <ac:graphicFrameMk id="125" creationId="{641A01CD-8B4A-4C7B-B345-857088D5CF4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3:44.579" v="29796"/>
          <ac:graphicFrameMkLst>
            <pc:docMk/>
            <pc:sldMk cId="2701412712" sldId="7332"/>
            <ac:graphicFrameMk id="127" creationId="{AB1A5EE9-3961-463C-B716-CE5BA9F96C1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05.068" v="31277"/>
          <ac:graphicFrameMkLst>
            <pc:docMk/>
            <pc:sldMk cId="2701412712" sldId="7332"/>
            <ac:graphicFrameMk id="128" creationId="{BEB5B5E7-0871-4CBF-BB3F-3238011EBA92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06.374" v="31467"/>
          <ac:graphicFrameMkLst>
            <pc:docMk/>
            <pc:sldMk cId="2701412712" sldId="7332"/>
            <ac:graphicFrameMk id="129" creationId="{9F9FB937-8638-4F27-95EB-394D2086BBD3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29.498" v="32096"/>
          <ac:graphicFrameMkLst>
            <pc:docMk/>
            <pc:sldMk cId="2701412712" sldId="7332"/>
            <ac:graphicFrameMk id="130" creationId="{FE87A821-83F3-422F-9FF4-5F8436930A7E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4:08:22.515" v="31883"/>
          <ac:graphicFrameMkLst>
            <pc:docMk/>
            <pc:sldMk cId="2701412712" sldId="7332"/>
            <ac:graphicFrameMk id="131" creationId="{F1E658A0-FAFA-404F-809E-5D700DDE399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30.823" v="32290"/>
          <ac:graphicFrameMkLst>
            <pc:docMk/>
            <pc:sldMk cId="2701412712" sldId="7332"/>
            <ac:graphicFrameMk id="133" creationId="{897C8265-82B3-4062-AF6D-0B3587E8AF4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31.647" v="32480"/>
          <ac:graphicFrameMkLst>
            <pc:docMk/>
            <pc:sldMk cId="2701412712" sldId="7332"/>
            <ac:graphicFrameMk id="134" creationId="{75770683-1E4D-44BF-96EC-3D8882681FD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34.018" v="32708"/>
          <ac:graphicFrameMkLst>
            <pc:docMk/>
            <pc:sldMk cId="2701412712" sldId="7332"/>
            <ac:graphicFrameMk id="135" creationId="{CDE5820E-F8ED-4A33-BF3C-F90E70161F6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35.222" v="32902"/>
          <ac:graphicFrameMkLst>
            <pc:docMk/>
            <pc:sldMk cId="2701412712" sldId="7332"/>
            <ac:graphicFrameMk id="137" creationId="{058DC6DA-DE5A-4C01-8522-A34B97F5F92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9:03.453" v="35545"/>
          <ac:graphicFrameMkLst>
            <pc:docMk/>
            <pc:sldMk cId="2701412712" sldId="7332"/>
            <ac:graphicFrameMk id="138" creationId="{26DB08A4-01F4-4D3C-A36C-86500D3CCDDA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8:39.250" v="33470"/>
          <ac:graphicFrameMkLst>
            <pc:docMk/>
            <pc:sldMk cId="2701412712" sldId="7332"/>
            <ac:graphicFrameMk id="140" creationId="{A1820670-2CB0-4FBD-90FF-F1A6F9489D6E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4:09:03.453" v="35545"/>
          <ac:graphicFrameMkLst>
            <pc:docMk/>
            <pc:sldMk cId="2701412712" sldId="7332"/>
            <ac:graphicFrameMk id="141" creationId="{D676640E-B7C1-4698-830E-49275D93286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9:03.453" v="35545"/>
          <ac:graphicFrameMkLst>
            <pc:docMk/>
            <pc:sldMk cId="2701412712" sldId="7332"/>
            <ac:graphicFrameMk id="186" creationId="{7C4A85A9-391A-4D63-8843-BF820202D4DD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4:09:02.676" v="35161"/>
          <ac:graphicFrameMkLst>
            <pc:docMk/>
            <pc:sldMk cId="2701412712" sldId="7332"/>
            <ac:graphicFrameMk id="187" creationId="{A2EF8C4F-F09D-4DE4-8065-20E65DD6A610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4:09:02.150" v="35051"/>
          <ac:graphicFrameMkLst>
            <pc:docMk/>
            <pc:sldMk cId="2701412712" sldId="7332"/>
            <ac:graphicFrameMk id="188" creationId="{536B05F9-EC85-49EE-884F-82E20F47D1C8}"/>
          </ac:graphicFrameMkLst>
        </pc:graphicFrameChg>
        <pc:graphicFrameChg chg="mod ord">
          <ac:chgData name="Ugo MANTEL" userId="2d5b7065-31bb-4181-a7f8-a73bf0c30211" providerId="ADAL" clId="{2A660E2D-CD4C-439C-955B-BDD952B126F0}" dt="2021-03-08T09:32:17.376" v="3517"/>
          <ac:graphicFrameMkLst>
            <pc:docMk/>
            <pc:sldMk cId="2701412712" sldId="7332"/>
            <ac:graphicFrameMk id="270" creationId="{5114F1FC-DEFF-427B-BE5D-F8C348001F67}"/>
          </ac:graphicFrameMkLst>
        </pc:graphicFrameChg>
        <pc:graphicFrameChg chg="del">
          <ac:chgData name="Ugo MANTEL" userId="2d5b7065-31bb-4181-a7f8-a73bf0c30211" providerId="ADAL" clId="{2A660E2D-CD4C-439C-955B-BDD952B126F0}" dt="2021-03-08T09:31:38.156" v="2026"/>
          <ac:graphicFrameMkLst>
            <pc:docMk/>
            <pc:sldMk cId="2701412712" sldId="7332"/>
            <ac:graphicFrameMk id="273" creationId="{7CB4B080-1161-4111-B0A4-D3B9C05E1122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31:46.389" v="2822"/>
          <ac:graphicFrameMkLst>
            <pc:docMk/>
            <pc:sldMk cId="2701412712" sldId="7332"/>
            <ac:graphicFrameMk id="352" creationId="{A159BC55-A541-43F2-85C4-DEC95878C657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32:09.130" v="3157"/>
          <ac:graphicFrameMkLst>
            <pc:docMk/>
            <pc:sldMk cId="2701412712" sldId="7332"/>
            <ac:graphicFrameMk id="360" creationId="{73EEFEF6-299A-405B-803E-0B0558F9D9E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32:17.242" v="3420"/>
          <ac:graphicFrameMkLst>
            <pc:docMk/>
            <pc:sldMk cId="2701412712" sldId="7332"/>
            <ac:graphicFrameMk id="361" creationId="{ED76ACA5-8FB5-452D-A812-F6B5AE6F1F87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09:32:17.336" v="3462"/>
          <ac:graphicFrameMkLst>
            <pc:docMk/>
            <pc:sldMk cId="2701412712" sldId="7332"/>
            <ac:graphicFrameMk id="362" creationId="{26A40428-0637-4798-B382-737E52A2A329}"/>
          </ac:graphicFrameMkLst>
        </pc:graphicFrame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105" creationId="{D159A7B6-24CE-47EC-B737-1493A7F6969A}"/>
          </ac:picMkLst>
        </pc:pic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368" creationId="{268BD060-9FCB-4D62-ADC6-651D153060D3}"/>
          </ac:picMkLst>
        </pc:pic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369" creationId="{633B5CDB-D3DE-4162-B9EF-7BD317CCA802}"/>
          </ac:picMkLst>
        </pc:pic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370" creationId="{FFD71595-106D-48B7-B1D3-F72940A76F46}"/>
          </ac:picMkLst>
        </pc:picChg>
        <pc:picChg chg="mod">
          <ac:chgData name="Ugo MANTEL" userId="2d5b7065-31bb-4181-a7f8-a73bf0c30211" providerId="ADAL" clId="{2A660E2D-CD4C-439C-955B-BDD952B126F0}" dt="2021-03-08T09:33:06.144" v="3648"/>
          <ac:picMkLst>
            <pc:docMk/>
            <pc:sldMk cId="2701412712" sldId="7332"/>
            <ac:picMk id="372" creationId="{D75747DC-8B59-4A77-8C4A-FFBF12A8229B}"/>
          </ac:picMkLst>
        </pc:picChg>
        <pc:picChg chg="mod">
          <ac:chgData name="Ugo MANTEL" userId="2d5b7065-31bb-4181-a7f8-a73bf0c30211" providerId="ADAL" clId="{2A660E2D-CD4C-439C-955B-BDD952B126F0}" dt="2021-03-08T09:33:06.144" v="3648"/>
          <ac:picMkLst>
            <pc:docMk/>
            <pc:sldMk cId="2701412712" sldId="7332"/>
            <ac:picMk id="373" creationId="{66C16FFE-D360-4AD5-A061-71081FAC65C2}"/>
          </ac:picMkLst>
        </pc:picChg>
        <pc:picChg chg="mod">
          <ac:chgData name="Ugo MANTEL" userId="2d5b7065-31bb-4181-a7f8-a73bf0c30211" providerId="ADAL" clId="{2A660E2D-CD4C-439C-955B-BDD952B126F0}" dt="2021-03-08T09:33:06.144" v="3648"/>
          <ac:picMkLst>
            <pc:docMk/>
            <pc:sldMk cId="2701412712" sldId="7332"/>
            <ac:picMk id="374" creationId="{736B6F49-56D0-4AB3-910C-7129075BDC7A}"/>
          </ac:picMkLst>
        </pc:picChg>
        <pc:picChg chg="add del mod">
          <ac:chgData name="Ugo MANTEL" userId="2d5b7065-31bb-4181-a7f8-a73bf0c30211" providerId="ADAL" clId="{2A660E2D-CD4C-439C-955B-BDD952B126F0}" dt="2021-03-08T09:33:30.357" v="3653" actId="478"/>
          <ac:picMkLst>
            <pc:docMk/>
            <pc:sldMk cId="2701412712" sldId="7332"/>
            <ac:picMk id="376" creationId="{909C1455-25EB-4CD7-978C-98B25A22B917}"/>
          </ac:picMkLst>
        </pc:pic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377" creationId="{4B951238-55D0-4FA6-A942-43204ADE6DC8}"/>
          </ac:picMkLst>
        </pc:pic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378" creationId="{188E78B5-09E6-4A1F-A43A-842706C12454}"/>
          </ac:picMkLst>
        </pc:picChg>
        <pc:picChg chg="add mod ord">
          <ac:chgData name="Ugo MANTEL" userId="2d5b7065-31bb-4181-a7f8-a73bf0c30211" providerId="ADAL" clId="{2A660E2D-CD4C-439C-955B-BDD952B126F0}" dt="2021-03-08T14:09:03.453" v="35545"/>
          <ac:picMkLst>
            <pc:docMk/>
            <pc:sldMk cId="2701412712" sldId="7332"/>
            <ac:picMk id="379" creationId="{9542EFEE-DF68-491E-81FD-BE2B60ADA303}"/>
          </ac:picMkLst>
        </pc:pic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30" creationId="{87170DDA-478F-4AAA-820D-FECB02AEA468}"/>
          </ac:cxnSpMkLst>
        </pc:cxnChg>
        <pc:cxnChg chg="add del 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34" creationId="{89B808D3-8458-4F4E-8CD1-11F2E53FA434}"/>
          </ac:cxnSpMkLst>
        </pc:cxnChg>
        <pc:cxnChg chg="add del 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35" creationId="{B1D9F031-6309-4AE3-A8BF-78662499307A}"/>
          </ac:cxnSpMkLst>
        </pc:cxnChg>
        <pc:cxnChg chg="add del 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36" creationId="{946D980C-86BC-4747-81AB-DF79F269CE76}"/>
          </ac:cxnSpMkLst>
        </pc:cxnChg>
        <pc:cxnChg chg="add del mod ord">
          <ac:chgData name="Ugo MANTEL" userId="2d5b7065-31bb-4181-a7f8-a73bf0c30211" providerId="ADAL" clId="{2A660E2D-CD4C-439C-955B-BDD952B126F0}" dt="2021-03-08T09:31:45.472" v="2317"/>
          <ac:cxnSpMkLst>
            <pc:docMk/>
            <pc:sldMk cId="2701412712" sldId="7332"/>
            <ac:cxnSpMk id="66" creationId="{9089294B-5822-4EF2-AE43-123DF5BE7F5A}"/>
          </ac:cxnSpMkLst>
        </pc:cxnChg>
        <pc:cxnChg chg="add del mod ord">
          <ac:chgData name="Ugo MANTEL" userId="2d5b7065-31bb-4181-a7f8-a73bf0c30211" providerId="ADAL" clId="{2A660E2D-CD4C-439C-955B-BDD952B126F0}" dt="2021-03-08T09:31:45.457" v="2295"/>
          <ac:cxnSpMkLst>
            <pc:docMk/>
            <pc:sldMk cId="2701412712" sldId="7332"/>
            <ac:cxnSpMk id="68" creationId="{6C782DBE-DDAF-4A1D-9020-9C550AAFDCF9}"/>
          </ac:cxnSpMkLst>
        </pc:cxnChg>
        <pc:cxnChg chg="add del mod ord">
          <ac:chgData name="Ugo MANTEL" userId="2d5b7065-31bb-4181-a7f8-a73bf0c30211" providerId="ADAL" clId="{2A660E2D-CD4C-439C-955B-BDD952B126F0}" dt="2021-03-08T09:31:46.227" v="2653"/>
          <ac:cxnSpMkLst>
            <pc:docMk/>
            <pc:sldMk cId="2701412712" sldId="7332"/>
            <ac:cxnSpMk id="70" creationId="{0D887E74-CC23-4061-8F95-1475177972A2}"/>
          </ac:cxnSpMkLst>
        </pc:cxnChg>
        <pc:cxnChg chg="add del mod ord">
          <ac:chgData name="Ugo MANTEL" userId="2d5b7065-31bb-4181-a7f8-a73bf0c30211" providerId="ADAL" clId="{2A660E2D-CD4C-439C-955B-BDD952B126F0}" dt="2021-03-08T09:31:46.241" v="2667"/>
          <ac:cxnSpMkLst>
            <pc:docMk/>
            <pc:sldMk cId="2701412712" sldId="7332"/>
            <ac:cxnSpMk id="72" creationId="{79F7677A-D092-4A8B-B362-46489E428F46}"/>
          </ac:cxnSpMkLst>
        </pc:cxnChg>
        <pc:cxnChg chg="add del mod ord">
          <ac:chgData name="Ugo MANTEL" userId="2d5b7065-31bb-4181-a7f8-a73bf0c30211" providerId="ADAL" clId="{2A660E2D-CD4C-439C-955B-BDD952B126F0}" dt="2021-03-08T09:31:46.248" v="2676"/>
          <ac:cxnSpMkLst>
            <pc:docMk/>
            <pc:sldMk cId="2701412712" sldId="7332"/>
            <ac:cxnSpMk id="74" creationId="{D295CDDB-5F45-42E0-BE98-52628EE75E3F}"/>
          </ac:cxnSpMkLst>
        </pc:cxnChg>
        <pc:cxnChg chg="add del mod ord">
          <ac:chgData name="Ugo MANTEL" userId="2d5b7065-31bb-4181-a7f8-a73bf0c30211" providerId="ADAL" clId="{2A660E2D-CD4C-439C-955B-BDD952B126F0}" dt="2021-03-08T09:31:45.489" v="2343"/>
          <ac:cxnSpMkLst>
            <pc:docMk/>
            <pc:sldMk cId="2701412712" sldId="7332"/>
            <ac:cxnSpMk id="76" creationId="{977D0908-78AA-4A3D-95CD-250487BE8A1C}"/>
          </ac:cxnSpMkLst>
        </pc:cxnChg>
        <pc:cxnChg chg="add del mod ord">
          <ac:chgData name="Ugo MANTEL" userId="2d5b7065-31bb-4181-a7f8-a73bf0c30211" providerId="ADAL" clId="{2A660E2D-CD4C-439C-955B-BDD952B126F0}" dt="2021-03-08T09:31:45.474" v="2321"/>
          <ac:cxnSpMkLst>
            <pc:docMk/>
            <pc:sldMk cId="2701412712" sldId="7332"/>
            <ac:cxnSpMk id="78" creationId="{C5645136-DA4E-4ACA-B1C9-4E09ABA11DE6}"/>
          </ac:cxnSpMkLst>
        </pc:cxnChg>
        <pc:cxnChg chg="add del mod ord">
          <ac:chgData name="Ugo MANTEL" userId="2d5b7065-31bb-4181-a7f8-a73bf0c30211" providerId="ADAL" clId="{2A660E2D-CD4C-439C-955B-BDD952B126F0}" dt="2021-03-08T09:31:45.491" v="2346"/>
          <ac:cxnSpMkLst>
            <pc:docMk/>
            <pc:sldMk cId="2701412712" sldId="7332"/>
            <ac:cxnSpMk id="82" creationId="{10934368-1967-486E-A94C-7532081901EF}"/>
          </ac:cxnSpMkLst>
        </pc:cxnChg>
        <pc:cxnChg chg="add del mod ord">
          <ac:chgData name="Ugo MANTEL" userId="2d5b7065-31bb-4181-a7f8-a73bf0c30211" providerId="ADAL" clId="{2A660E2D-CD4C-439C-955B-BDD952B126F0}" dt="2021-03-08T09:31:45.461" v="2301"/>
          <ac:cxnSpMkLst>
            <pc:docMk/>
            <pc:sldMk cId="2701412712" sldId="7332"/>
            <ac:cxnSpMk id="85" creationId="{3551E458-0911-437B-9F1C-1EE6B7123C66}"/>
          </ac:cxnSpMkLst>
        </pc:cxnChg>
        <pc:cxnChg chg="add del mod ord">
          <ac:chgData name="Ugo MANTEL" userId="2d5b7065-31bb-4181-a7f8-a73bf0c30211" providerId="ADAL" clId="{2A660E2D-CD4C-439C-955B-BDD952B126F0}" dt="2021-03-08T09:31:45.493" v="2349"/>
          <ac:cxnSpMkLst>
            <pc:docMk/>
            <pc:sldMk cId="2701412712" sldId="7332"/>
            <ac:cxnSpMk id="92" creationId="{7D1926DA-1982-4332-B54E-225EF29392F6}"/>
          </ac:cxnSpMkLst>
        </pc:cxnChg>
        <pc:cxnChg chg="add del mod ord">
          <ac:chgData name="Ugo MANTEL" userId="2d5b7065-31bb-4181-a7f8-a73bf0c30211" providerId="ADAL" clId="{2A660E2D-CD4C-439C-955B-BDD952B126F0}" dt="2021-03-08T09:31:45.463" v="2304"/>
          <ac:cxnSpMkLst>
            <pc:docMk/>
            <pc:sldMk cId="2701412712" sldId="7332"/>
            <ac:cxnSpMk id="96" creationId="{F3F0AAFE-ABB1-4995-A927-63F70752BBFF}"/>
          </ac:cxnSpMkLst>
        </pc:cxnChg>
        <pc:cxnChg chg="add del mod ord">
          <ac:chgData name="Ugo MANTEL" userId="2d5b7065-31bb-4181-a7f8-a73bf0c30211" providerId="ADAL" clId="{2A660E2D-CD4C-439C-955B-BDD952B126F0}" dt="2021-03-08T09:31:45.495" v="2352"/>
          <ac:cxnSpMkLst>
            <pc:docMk/>
            <pc:sldMk cId="2701412712" sldId="7332"/>
            <ac:cxnSpMk id="100" creationId="{616AF3D8-C5FA-4E31-9DE2-ED55BCB3935D}"/>
          </ac:cxnSpMkLst>
        </pc:cxnChg>
        <pc:cxnChg chg="add del mod ord">
          <ac:chgData name="Ugo MANTEL" userId="2d5b7065-31bb-4181-a7f8-a73bf0c30211" providerId="ADAL" clId="{2A660E2D-CD4C-439C-955B-BDD952B126F0}" dt="2021-03-08T09:31:45.478" v="2328"/>
          <ac:cxnSpMkLst>
            <pc:docMk/>
            <pc:sldMk cId="2701412712" sldId="7332"/>
            <ac:cxnSpMk id="103" creationId="{615622CA-F44E-45BB-9339-262AF6439C6C}"/>
          </ac:cxnSpMkLst>
        </pc:cxnChg>
        <pc:cxnChg chg="add 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07" creationId="{F9D526AB-3471-4F86-B3A2-90C5348CD531}"/>
          </ac:cxnSpMkLst>
        </pc:cxnChg>
        <pc:cxnChg chg="add del mod ord">
          <ac:chgData name="Ugo MANTEL" userId="2d5b7065-31bb-4181-a7f8-a73bf0c30211" providerId="ADAL" clId="{2A660E2D-CD4C-439C-955B-BDD952B126F0}" dt="2021-03-08T09:31:46.369" v="2791"/>
          <ac:cxnSpMkLst>
            <pc:docMk/>
            <pc:sldMk cId="2701412712" sldId="7332"/>
            <ac:cxnSpMk id="110" creationId="{971FBAE5-896E-4F41-9D63-FB1938EDED24}"/>
          </ac:cxnSpMkLst>
        </pc:cxnChg>
        <pc:cxnChg chg="add del mod ord">
          <ac:chgData name="Ugo MANTEL" userId="2d5b7065-31bb-4181-a7f8-a73bf0c30211" providerId="ADAL" clId="{2A660E2D-CD4C-439C-955B-BDD952B126F0}" dt="2021-03-08T09:32:08.905" v="3010"/>
          <ac:cxnSpMkLst>
            <pc:docMk/>
            <pc:sldMk cId="2701412712" sldId="7332"/>
            <ac:cxnSpMk id="113" creationId="{817C6E6C-6035-4E35-909B-6FD968D43A33}"/>
          </ac:cxnSpMkLst>
        </pc:cxnChg>
        <pc:cxnChg chg="add del mod ord">
          <ac:chgData name="Ugo MANTEL" userId="2d5b7065-31bb-4181-a7f8-a73bf0c30211" providerId="ADAL" clId="{2A660E2D-CD4C-439C-955B-BDD952B126F0}" dt="2021-03-08T09:32:08.895" v="2994"/>
          <ac:cxnSpMkLst>
            <pc:docMk/>
            <pc:sldMk cId="2701412712" sldId="7332"/>
            <ac:cxnSpMk id="116" creationId="{73F61D92-6608-4C69-A6B0-404CEADDACE3}"/>
          </ac:cxnSpMkLst>
        </pc:cxnChg>
        <pc:cxnChg chg="add del mod ord">
          <ac:chgData name="Ugo MANTEL" userId="2d5b7065-31bb-4181-a7f8-a73bf0c30211" providerId="ADAL" clId="{2A660E2D-CD4C-439C-955B-BDD952B126F0}" dt="2021-03-08T09:32:08.897" v="2998"/>
          <ac:cxnSpMkLst>
            <pc:docMk/>
            <pc:sldMk cId="2701412712" sldId="7332"/>
            <ac:cxnSpMk id="119" creationId="{6285490E-619D-4A08-A01F-5BF380183E97}"/>
          </ac:cxnSpMkLst>
        </pc:cxnChg>
        <pc:cxnChg chg="add del mod ord">
          <ac:chgData name="Ugo MANTEL" userId="2d5b7065-31bb-4181-a7f8-a73bf0c30211" providerId="ADAL" clId="{2A660E2D-CD4C-439C-955B-BDD952B126F0}" dt="2021-03-08T09:32:08.900" v="3002"/>
          <ac:cxnSpMkLst>
            <pc:docMk/>
            <pc:sldMk cId="2701412712" sldId="7332"/>
            <ac:cxnSpMk id="121" creationId="{0206D80E-0204-42F4-BBC9-4429170C0D89}"/>
          </ac:cxnSpMkLst>
        </pc:cxnChg>
        <pc:cxnChg chg="add del mod ord">
          <ac:chgData name="Ugo MANTEL" userId="2d5b7065-31bb-4181-a7f8-a73bf0c30211" providerId="ADAL" clId="{2A660E2D-CD4C-439C-955B-BDD952B126F0}" dt="2021-03-08T09:32:08.903" v="3006"/>
          <ac:cxnSpMkLst>
            <pc:docMk/>
            <pc:sldMk cId="2701412712" sldId="7332"/>
            <ac:cxnSpMk id="124" creationId="{A4E89C02-0A6C-43B7-8333-5A90EF773C0A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47" creationId="{FF618154-BF79-45DC-A65C-1552CCABE6DA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48" creationId="{FDE428FE-F16B-43EE-8CE7-6D4689515B47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49" creationId="{252CAB78-7322-48A8-98FF-411A2DAF1331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50" creationId="{414324AB-672B-4E59-90FC-8FDD0E63742D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51" creationId="{8BC32E13-4C3B-4F85-BF6B-9C35C090CE9B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52" creationId="{94E8A521-F49C-4FD6-9D2E-A8901F7D7E4A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153" creationId="{B7F4C317-CACC-45E0-A1D9-B06436081CCF}"/>
          </ac:cxnSpMkLst>
        </pc:cxnChg>
        <pc:cxnChg chg="del mod ord">
          <ac:chgData name="Ugo MANTEL" userId="2d5b7065-31bb-4181-a7f8-a73bf0c30211" providerId="ADAL" clId="{2A660E2D-CD4C-439C-955B-BDD952B126F0}" dt="2021-03-08T13:56:56.277" v="31223" actId="478"/>
          <ac:cxnSpMkLst>
            <pc:docMk/>
            <pc:sldMk cId="2701412712" sldId="7332"/>
            <ac:cxnSpMk id="184" creationId="{84B76F94-D778-48C5-8FC9-6D5C2D8CCE4B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234" creationId="{119CBB82-A684-4CF6-983F-C33A85DC8643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235" creationId="{260972ED-B485-45C8-8D3F-73EFA46817A5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236" creationId="{159E5405-BAB9-4BD4-8DC1-607436A64CD9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286" creationId="{02796175-775A-4783-975E-F1573F145E89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292" creationId="{6126928B-B4BF-4B52-BD26-52CF89C7FA56}"/>
          </ac:cxnSpMkLst>
        </pc:cxnChg>
        <pc:cxnChg chg="mod ord">
          <ac:chgData name="Ugo MANTEL" userId="2d5b7065-31bb-4181-a7f8-a73bf0c30211" providerId="ADAL" clId="{2A660E2D-CD4C-439C-955B-BDD952B126F0}" dt="2021-03-08T14:09:03.453" v="35545"/>
          <ac:cxnSpMkLst>
            <pc:docMk/>
            <pc:sldMk cId="2701412712" sldId="7332"/>
            <ac:cxnSpMk id="304" creationId="{F2389580-1632-4A80-B4DC-5676870CE2C0}"/>
          </ac:cxnSpMkLst>
        </pc:cxnChg>
        <pc:cxnChg chg="del mod ord">
          <ac:chgData name="Ugo MANTEL" userId="2d5b7065-31bb-4181-a7f8-a73bf0c30211" providerId="ADAL" clId="{2A660E2D-CD4C-439C-955B-BDD952B126F0}" dt="2021-03-08T09:31:46.335" v="2752"/>
          <ac:cxnSpMkLst>
            <pc:docMk/>
            <pc:sldMk cId="2701412712" sldId="7332"/>
            <ac:cxnSpMk id="308" creationId="{CF40D131-D261-4696-BE42-3C901E10C99F}"/>
          </ac:cxnSpMkLst>
        </pc:cxnChg>
        <pc:cxnChg chg="add del mod ord">
          <ac:chgData name="Ugo MANTEL" userId="2d5b7065-31bb-4181-a7f8-a73bf0c30211" providerId="ADAL" clId="{2A660E2D-CD4C-439C-955B-BDD952B126F0}" dt="2021-03-08T09:31:46.127" v="2566"/>
          <ac:cxnSpMkLst>
            <pc:docMk/>
            <pc:sldMk cId="2701412712" sldId="7332"/>
            <ac:cxnSpMk id="563" creationId="{77838DCC-93CE-489C-8831-A3056254CE1D}"/>
          </ac:cxnSpMkLst>
        </pc:cxnChg>
        <pc:cxnChg chg="add del mod ord">
          <ac:chgData name="Ugo MANTEL" userId="2d5b7065-31bb-4181-a7f8-a73bf0c30211" providerId="ADAL" clId="{2A660E2D-CD4C-439C-955B-BDD952B126F0}" dt="2021-03-08T09:32:09.002" v="3045"/>
          <ac:cxnSpMkLst>
            <pc:docMk/>
            <pc:sldMk cId="2701412712" sldId="7332"/>
            <ac:cxnSpMk id="564" creationId="{2CD6A278-ECBF-4CAA-BD26-4AC80AFB3F85}"/>
          </ac:cxnSpMkLst>
        </pc:cxnChg>
        <pc:cxnChg chg="add del mod ord">
          <ac:chgData name="Ugo MANTEL" userId="2d5b7065-31bb-4181-a7f8-a73bf0c30211" providerId="ADAL" clId="{2A660E2D-CD4C-439C-955B-BDD952B126F0}" dt="2021-03-08T09:31:46.143" v="2582"/>
          <ac:cxnSpMkLst>
            <pc:docMk/>
            <pc:sldMk cId="2701412712" sldId="7332"/>
            <ac:cxnSpMk id="565" creationId="{2D7948BA-206C-418A-B823-941AF33E93EB}"/>
          </ac:cxnSpMkLst>
        </pc:cxnChg>
        <pc:cxnChg chg="add del mod ord">
          <ac:chgData name="Ugo MANTEL" userId="2d5b7065-31bb-4181-a7f8-a73bf0c30211" providerId="ADAL" clId="{2A660E2D-CD4C-439C-955B-BDD952B126F0}" dt="2021-03-08T09:31:46.149" v="2589"/>
          <ac:cxnSpMkLst>
            <pc:docMk/>
            <pc:sldMk cId="2701412712" sldId="7332"/>
            <ac:cxnSpMk id="566" creationId="{B5257132-353B-42D0-8457-FB12FA3AAC67}"/>
          </ac:cxnSpMkLst>
        </pc:cxnChg>
        <pc:cxnChg chg="add del mod ord">
          <ac:chgData name="Ugo MANTEL" userId="2d5b7065-31bb-4181-a7f8-a73bf0c30211" providerId="ADAL" clId="{2A660E2D-CD4C-439C-955B-BDD952B126F0}" dt="2021-03-08T09:31:45.466" v="2309"/>
          <ac:cxnSpMkLst>
            <pc:docMk/>
            <pc:sldMk cId="2701412712" sldId="7332"/>
            <ac:cxnSpMk id="567" creationId="{619EB844-8A2B-4667-8E8E-64A083B4BAD8}"/>
          </ac:cxnSpMkLst>
        </pc:cxnChg>
        <pc:cxnChg chg="add del mod ord">
          <ac:chgData name="Ugo MANTEL" userId="2d5b7065-31bb-4181-a7f8-a73bf0c30211" providerId="ADAL" clId="{2A660E2D-CD4C-439C-955B-BDD952B126F0}" dt="2021-03-08T09:31:46.186" v="2623"/>
          <ac:cxnSpMkLst>
            <pc:docMk/>
            <pc:sldMk cId="2701412712" sldId="7332"/>
            <ac:cxnSpMk id="568" creationId="{EA2836CA-4BB4-4E7C-83D0-6F7814AD62C4}"/>
          </ac:cxnSpMkLst>
        </pc:cxnChg>
        <pc:cxnChg chg="add del mod ord">
          <ac:chgData name="Ugo MANTEL" userId="2d5b7065-31bb-4181-a7f8-a73bf0c30211" providerId="ADAL" clId="{2A660E2D-CD4C-439C-955B-BDD952B126F0}" dt="2021-03-08T09:31:45.481" v="2333"/>
          <ac:cxnSpMkLst>
            <pc:docMk/>
            <pc:sldMk cId="2701412712" sldId="7332"/>
            <ac:cxnSpMk id="569" creationId="{53B2494F-9FF6-4CC6-9E5A-FAD3EF1599A3}"/>
          </ac:cxnSpMkLst>
        </pc:cxnChg>
        <pc:cxnChg chg="add del mod ord">
          <ac:chgData name="Ugo MANTEL" userId="2d5b7065-31bb-4181-a7f8-a73bf0c30211" providerId="ADAL" clId="{2A660E2D-CD4C-439C-955B-BDD952B126F0}" dt="2021-03-08T09:31:45.468" v="2312"/>
          <ac:cxnSpMkLst>
            <pc:docMk/>
            <pc:sldMk cId="2701412712" sldId="7332"/>
            <ac:cxnSpMk id="570" creationId="{9D6DBB5A-D63A-495F-9B97-5A57D6126F09}"/>
          </ac:cxnSpMkLst>
        </pc:cxnChg>
        <pc:cxnChg chg="add del mod ord">
          <ac:chgData name="Ugo MANTEL" userId="2d5b7065-31bb-4181-a7f8-a73bf0c30211" providerId="ADAL" clId="{2A660E2D-CD4C-439C-955B-BDD952B126F0}" dt="2021-03-08T09:31:45.452" v="2289"/>
          <ac:cxnSpMkLst>
            <pc:docMk/>
            <pc:sldMk cId="2701412712" sldId="7332"/>
            <ac:cxnSpMk id="571" creationId="{4D696A8B-27E6-4A34-8C2A-40463092F469}"/>
          </ac:cxnSpMkLst>
        </pc:cxnChg>
        <pc:cxnChg chg="add del mod ord">
          <ac:chgData name="Ugo MANTEL" userId="2d5b7065-31bb-4181-a7f8-a73bf0c30211" providerId="ADAL" clId="{2A660E2D-CD4C-439C-955B-BDD952B126F0}" dt="2021-03-08T09:31:45.484" v="2336"/>
          <ac:cxnSpMkLst>
            <pc:docMk/>
            <pc:sldMk cId="2701412712" sldId="7332"/>
            <ac:cxnSpMk id="572" creationId="{224BE79C-BE8B-4C7C-A87F-6DF4DD75C0A1}"/>
          </ac:cxnSpMkLst>
        </pc:cxnChg>
        <pc:cxnChg chg="add del mod ord">
          <ac:chgData name="Ugo MANTEL" userId="2d5b7065-31bb-4181-a7f8-a73bf0c30211" providerId="ADAL" clId="{2A660E2D-CD4C-439C-955B-BDD952B126F0}" dt="2021-03-08T09:31:45.454" v="2292"/>
          <ac:cxnSpMkLst>
            <pc:docMk/>
            <pc:sldMk cId="2701412712" sldId="7332"/>
            <ac:cxnSpMk id="573" creationId="{20519901-C1BB-4449-BE2F-FCF48D34392D}"/>
          </ac:cxnSpMkLst>
        </pc:cxnChg>
        <pc:cxnChg chg="add del mod ord">
          <ac:chgData name="Ugo MANTEL" userId="2d5b7065-31bb-4181-a7f8-a73bf0c30211" providerId="ADAL" clId="{2A660E2D-CD4C-439C-955B-BDD952B126F0}" dt="2021-03-08T09:31:46.206" v="2640"/>
          <ac:cxnSpMkLst>
            <pc:docMk/>
            <pc:sldMk cId="2701412712" sldId="7332"/>
            <ac:cxnSpMk id="574" creationId="{99162CCD-05E7-4FC8-8159-9BDB4999BD4E}"/>
          </ac:cxnSpMkLst>
        </pc:cxnChg>
        <pc:cxnChg chg="add del mod ord">
          <ac:chgData name="Ugo MANTEL" userId="2d5b7065-31bb-4181-a7f8-a73bf0c30211" providerId="ADAL" clId="{2A660E2D-CD4C-439C-955B-BDD952B126F0}" dt="2021-03-08T09:31:45.486" v="2339"/>
          <ac:cxnSpMkLst>
            <pc:docMk/>
            <pc:sldMk cId="2701412712" sldId="7332"/>
            <ac:cxnSpMk id="575" creationId="{4B9B3356-3819-466F-854A-4B44BAB082B4}"/>
          </ac:cxnSpMkLst>
        </pc:cxnChg>
        <pc:cxnChg chg="add del mod ord">
          <ac:chgData name="Ugo MANTEL" userId="2d5b7065-31bb-4181-a7f8-a73bf0c30211" providerId="ADAL" clId="{2A660E2D-CD4C-439C-955B-BDD952B126F0}" dt="2021-03-08T09:32:09.077" v="3116"/>
          <ac:cxnSpMkLst>
            <pc:docMk/>
            <pc:sldMk cId="2701412712" sldId="7332"/>
            <ac:cxnSpMk id="577" creationId="{7BBAB413-65B6-463F-B4F4-05479E0C8C08}"/>
          </ac:cxnSpMkLst>
        </pc:cxnChg>
      </pc:sldChg>
      <pc:sldChg chg="addSp delSp modSp add mod ord modTransition modShow">
        <pc:chgData name="Ugo MANTEL" userId="2d5b7065-31bb-4181-a7f8-a73bf0c30211" providerId="ADAL" clId="{2A660E2D-CD4C-439C-955B-BDD952B126F0}" dt="2021-03-08T13:58:57.158" v="31237" actId="20577"/>
        <pc:sldMkLst>
          <pc:docMk/>
          <pc:sldMk cId="1947420367" sldId="7333"/>
        </pc:sldMkLst>
        <pc:spChg chg="mod">
          <ac:chgData name="Ugo MANTEL" userId="2d5b7065-31bb-4181-a7f8-a73bf0c30211" providerId="ADAL" clId="{2A660E2D-CD4C-439C-955B-BDD952B126F0}" dt="2021-03-08T10:16:02.382" v="26051"/>
          <ac:spMkLst>
            <pc:docMk/>
            <pc:sldMk cId="1947420367" sldId="7333"/>
            <ac:spMk id="2" creationId="{64576B3F-3BF3-47ED-8392-95410BFB7165}"/>
          </ac:spMkLst>
        </pc:spChg>
        <pc:spChg chg="mod ord">
          <ac:chgData name="Ugo MANTEL" userId="2d5b7065-31bb-4181-a7f8-a73bf0c30211" providerId="ADAL" clId="{2A660E2D-CD4C-439C-955B-BDD952B126F0}" dt="2021-03-08T09:56:10.678" v="3751"/>
          <ac:spMkLst>
            <pc:docMk/>
            <pc:sldMk cId="1947420367" sldId="7333"/>
            <ac:spMk id="3" creationId="{54F22942-C2FD-4CBD-8EDF-A48063B3C9C0}"/>
          </ac:spMkLst>
        </pc:spChg>
        <pc:spChg chg="add del mod modVis">
          <ac:chgData name="Ugo MANTEL" userId="2d5b7065-31bb-4181-a7f8-a73bf0c30211" providerId="ADAL" clId="{2A660E2D-CD4C-439C-955B-BDD952B126F0}" dt="2021-03-08T10:11:16.382" v="23890"/>
          <ac:spMkLst>
            <pc:docMk/>
            <pc:sldMk cId="1947420367" sldId="7333"/>
            <ac:spMk id="4" creationId="{2894111E-55EB-4B00-B419-3485FBE077D8}"/>
          </ac:spMkLst>
        </pc:spChg>
        <pc:spChg chg="add del mod modVis">
          <ac:chgData name="Ugo MANTEL" userId="2d5b7065-31bb-4181-a7f8-a73bf0c30211" providerId="ADAL" clId="{2A660E2D-CD4C-439C-955B-BDD952B126F0}" dt="2021-03-08T10:11:19.155" v="23943"/>
          <ac:spMkLst>
            <pc:docMk/>
            <pc:sldMk cId="1947420367" sldId="7333"/>
            <ac:spMk id="5" creationId="{695B5FA1-CC25-46B5-8CE5-E855A2759FC3}"/>
          </ac:spMkLst>
        </pc:spChg>
        <pc:spChg chg="add del mod modVis">
          <ac:chgData name="Ugo MANTEL" userId="2d5b7065-31bb-4181-a7f8-a73bf0c30211" providerId="ADAL" clId="{2A660E2D-CD4C-439C-955B-BDD952B126F0}" dt="2021-03-08T10:11:26.313" v="23986"/>
          <ac:spMkLst>
            <pc:docMk/>
            <pc:sldMk cId="1947420367" sldId="7333"/>
            <ac:spMk id="7" creationId="{6B3E4169-AB8D-474A-BF4D-1E793766A8A5}"/>
          </ac:spMkLst>
        </pc:spChg>
        <pc:spChg chg="mod ord">
          <ac:chgData name="Ugo MANTEL" userId="2d5b7065-31bb-4181-a7f8-a73bf0c30211" providerId="ADAL" clId="{2A660E2D-CD4C-439C-955B-BDD952B126F0}" dt="2021-03-08T09:56:10.668" v="3746"/>
          <ac:spMkLst>
            <pc:docMk/>
            <pc:sldMk cId="1947420367" sldId="7333"/>
            <ac:spMk id="8" creationId="{CFC02BAD-456B-4773-9A5D-8C6871E49FAB}"/>
          </ac:spMkLst>
        </pc:spChg>
        <pc:spChg chg="mod ord">
          <ac:chgData name="Ugo MANTEL" userId="2d5b7065-31bb-4181-a7f8-a73bf0c30211" providerId="ADAL" clId="{2A660E2D-CD4C-439C-955B-BDD952B126F0}" dt="2021-03-08T10:14:24.183" v="25882" actId="20577"/>
          <ac:spMkLst>
            <pc:docMk/>
            <pc:sldMk cId="1947420367" sldId="7333"/>
            <ac:spMk id="10" creationId="{33FAE982-EF25-48C7-A786-AC0F0510B8D2}"/>
          </ac:spMkLst>
        </pc:spChg>
        <pc:spChg chg="mod ord">
          <ac:chgData name="Ugo MANTEL" userId="2d5b7065-31bb-4181-a7f8-a73bf0c30211" providerId="ADAL" clId="{2A660E2D-CD4C-439C-955B-BDD952B126F0}" dt="2021-03-08T10:14:27.975" v="25890" actId="20577"/>
          <ac:spMkLst>
            <pc:docMk/>
            <pc:sldMk cId="1947420367" sldId="7333"/>
            <ac:spMk id="11" creationId="{87D2F3C3-FA5C-421B-87D7-38B6AB2BF45B}"/>
          </ac:spMkLst>
        </pc:spChg>
        <pc:spChg chg="mod ord">
          <ac:chgData name="Ugo MANTEL" userId="2d5b7065-31bb-4181-a7f8-a73bf0c30211" providerId="ADAL" clId="{2A660E2D-CD4C-439C-955B-BDD952B126F0}" dt="2021-03-08T10:16:32.588" v="26133" actId="20577"/>
          <ac:spMkLst>
            <pc:docMk/>
            <pc:sldMk cId="1947420367" sldId="7333"/>
            <ac:spMk id="12" creationId="{1C3FF9CD-B1BC-4799-A632-81B0B66892EF}"/>
          </ac:spMkLst>
        </pc:spChg>
        <pc:spChg chg="add del mod modVis">
          <ac:chgData name="Ugo MANTEL" userId="2d5b7065-31bb-4181-a7f8-a73bf0c30211" providerId="ADAL" clId="{2A660E2D-CD4C-439C-955B-BDD952B126F0}" dt="2021-03-08T10:12:54.345" v="24082"/>
          <ac:spMkLst>
            <pc:docMk/>
            <pc:sldMk cId="1947420367" sldId="7333"/>
            <ac:spMk id="13" creationId="{05CA72A0-73FE-46D3-B8C1-9302F6CE7B33}"/>
          </ac:spMkLst>
        </pc:spChg>
        <pc:spChg chg="add del mod modVis">
          <ac:chgData name="Ugo MANTEL" userId="2d5b7065-31bb-4181-a7f8-a73bf0c30211" providerId="ADAL" clId="{2A660E2D-CD4C-439C-955B-BDD952B126F0}" dt="2021-03-08T10:12:58.204" v="24140"/>
          <ac:spMkLst>
            <pc:docMk/>
            <pc:sldMk cId="1947420367" sldId="7333"/>
            <ac:spMk id="14" creationId="{21229709-AE2D-46A1-B8B2-ECCF34E6CC76}"/>
          </ac:spMkLst>
        </pc:spChg>
        <pc:spChg chg="add del mod modVis">
          <ac:chgData name="Ugo MANTEL" userId="2d5b7065-31bb-4181-a7f8-a73bf0c30211" providerId="ADAL" clId="{2A660E2D-CD4C-439C-955B-BDD952B126F0}" dt="2021-03-08T10:13:02.700" v="24193"/>
          <ac:spMkLst>
            <pc:docMk/>
            <pc:sldMk cId="1947420367" sldId="7333"/>
            <ac:spMk id="15" creationId="{162D1D52-9B8F-4610-8BB8-803C35065419}"/>
          </ac:spMkLst>
        </pc:spChg>
        <pc:spChg chg="add del mod modVis">
          <ac:chgData name="Ugo MANTEL" userId="2d5b7065-31bb-4181-a7f8-a73bf0c30211" providerId="ADAL" clId="{2A660E2D-CD4C-439C-955B-BDD952B126F0}" dt="2021-03-08T10:13:03.764" v="24234"/>
          <ac:spMkLst>
            <pc:docMk/>
            <pc:sldMk cId="1947420367" sldId="7333"/>
            <ac:spMk id="16" creationId="{7C4AFE81-E806-4A7F-900A-ADEB4D8B713B}"/>
          </ac:spMkLst>
        </pc:spChg>
        <pc:spChg chg="add del mod modVis">
          <ac:chgData name="Ugo MANTEL" userId="2d5b7065-31bb-4181-a7f8-a73bf0c30211" providerId="ADAL" clId="{2A660E2D-CD4C-439C-955B-BDD952B126F0}" dt="2021-03-08T10:13:05.013" v="24275"/>
          <ac:spMkLst>
            <pc:docMk/>
            <pc:sldMk cId="1947420367" sldId="7333"/>
            <ac:spMk id="17" creationId="{9375A7A6-89F8-4E4E-8001-3B57CDDCD3AA}"/>
          </ac:spMkLst>
        </pc:spChg>
        <pc:spChg chg="add del mod ord modVis">
          <ac:chgData name="Ugo MANTEL" userId="2d5b7065-31bb-4181-a7f8-a73bf0c30211" providerId="ADAL" clId="{2A660E2D-CD4C-439C-955B-BDD952B126F0}" dt="2021-03-08T09:56:10.699" v="3799"/>
          <ac:spMkLst>
            <pc:docMk/>
            <pc:sldMk cId="1947420367" sldId="7333"/>
            <ac:spMk id="17" creationId="{BD799222-4648-47D0-B1CB-5D31F4DF1BBC}"/>
          </ac:spMkLst>
        </pc:spChg>
        <pc:spChg chg="add del mod modVis">
          <ac:chgData name="Ugo MANTEL" userId="2d5b7065-31bb-4181-a7f8-a73bf0c30211" providerId="ADAL" clId="{2A660E2D-CD4C-439C-955B-BDD952B126F0}" dt="2021-03-08T10:13:09.842" v="24340"/>
          <ac:spMkLst>
            <pc:docMk/>
            <pc:sldMk cId="1947420367" sldId="7333"/>
            <ac:spMk id="18" creationId="{00C09F86-22D5-44E3-BD53-EDB6552380F4}"/>
          </ac:spMkLst>
        </pc:spChg>
        <pc:spChg chg="add del mod modVis">
          <ac:chgData name="Ugo MANTEL" userId="2d5b7065-31bb-4181-a7f8-a73bf0c30211" providerId="ADAL" clId="{2A660E2D-CD4C-439C-955B-BDD952B126F0}" dt="2021-03-08T10:13:11.527" v="24388"/>
          <ac:spMkLst>
            <pc:docMk/>
            <pc:sldMk cId="1947420367" sldId="7333"/>
            <ac:spMk id="19" creationId="{8F37EF56-4D0F-4C06-9715-C5E43B9007AA}"/>
          </ac:spMkLst>
        </pc:spChg>
        <pc:spChg chg="add del mod modVis">
          <ac:chgData name="Ugo MANTEL" userId="2d5b7065-31bb-4181-a7f8-a73bf0c30211" providerId="ADAL" clId="{2A660E2D-CD4C-439C-955B-BDD952B126F0}" dt="2021-03-08T10:13:13.431" v="24430"/>
          <ac:spMkLst>
            <pc:docMk/>
            <pc:sldMk cId="1947420367" sldId="7333"/>
            <ac:spMk id="20" creationId="{3B82FABD-BAA3-4629-81A3-97396159BC6A}"/>
          </ac:spMkLst>
        </pc:spChg>
        <pc:spChg chg="mod ord">
          <ac:chgData name="Ugo MANTEL" userId="2d5b7065-31bb-4181-a7f8-a73bf0c30211" providerId="ADAL" clId="{2A660E2D-CD4C-439C-955B-BDD952B126F0}" dt="2021-03-08T09:56:10.678" v="3761"/>
          <ac:spMkLst>
            <pc:docMk/>
            <pc:sldMk cId="1947420367" sldId="7333"/>
            <ac:spMk id="21" creationId="{86393647-7AF4-4521-B8B8-5AE0F22DC3B0}"/>
          </ac:spMkLst>
        </pc:spChg>
        <pc:spChg chg="mod ord">
          <ac:chgData name="Ugo MANTEL" userId="2d5b7065-31bb-4181-a7f8-a73bf0c30211" providerId="ADAL" clId="{2A660E2D-CD4C-439C-955B-BDD952B126F0}" dt="2021-03-08T09:56:10.686" v="3763"/>
          <ac:spMkLst>
            <pc:docMk/>
            <pc:sldMk cId="1947420367" sldId="7333"/>
            <ac:spMk id="22" creationId="{1485A8C1-E288-4C0E-8B53-A639DDDA682F}"/>
          </ac:spMkLst>
        </pc:spChg>
        <pc:spChg chg="add del mod modVis">
          <ac:chgData name="Ugo MANTEL" userId="2d5b7065-31bb-4181-a7f8-a73bf0c30211" providerId="ADAL" clId="{2A660E2D-CD4C-439C-955B-BDD952B126F0}" dt="2021-03-08T10:13:14.777" v="24471"/>
          <ac:spMkLst>
            <pc:docMk/>
            <pc:sldMk cId="1947420367" sldId="7333"/>
            <ac:spMk id="23" creationId="{605BC1AC-F48B-4EC3-9C5C-2EE64F30085B}"/>
          </ac:spMkLst>
        </pc:spChg>
        <pc:spChg chg="del mod ord">
          <ac:chgData name="Ugo MANTEL" userId="2d5b7065-31bb-4181-a7f8-a73bf0c30211" providerId="ADAL" clId="{2A660E2D-CD4C-439C-955B-BDD952B126F0}" dt="2021-03-08T09:57:02.301" v="3804" actId="478"/>
          <ac:spMkLst>
            <pc:docMk/>
            <pc:sldMk cId="1947420367" sldId="7333"/>
            <ac:spMk id="23" creationId="{FC4FCE9C-1F5A-4EA2-84FE-DC5916B57B17}"/>
          </ac:spMkLst>
        </pc:spChg>
        <pc:spChg chg="del mod ord">
          <ac:chgData name="Ugo MANTEL" userId="2d5b7065-31bb-4181-a7f8-a73bf0c30211" providerId="ADAL" clId="{2A660E2D-CD4C-439C-955B-BDD952B126F0}" dt="2021-03-08T09:57:02.301" v="3804" actId="478"/>
          <ac:spMkLst>
            <pc:docMk/>
            <pc:sldMk cId="1947420367" sldId="7333"/>
            <ac:spMk id="24" creationId="{44B62D93-224F-4EB4-9F71-E502E535655B}"/>
          </ac:spMkLst>
        </pc:spChg>
        <pc:spChg chg="add del mod modVis">
          <ac:chgData name="Ugo MANTEL" userId="2d5b7065-31bb-4181-a7f8-a73bf0c30211" providerId="ADAL" clId="{2A660E2D-CD4C-439C-955B-BDD952B126F0}" dt="2021-03-08T10:13:15.200" v="24512"/>
          <ac:spMkLst>
            <pc:docMk/>
            <pc:sldMk cId="1947420367" sldId="7333"/>
            <ac:spMk id="24" creationId="{DD312AE2-BA1C-4079-B654-BB137BE58C9F}"/>
          </ac:spMkLst>
        </pc:spChg>
        <pc:spChg chg="mod ord">
          <ac:chgData name="Ugo MANTEL" userId="2d5b7065-31bb-4181-a7f8-a73bf0c30211" providerId="ADAL" clId="{2A660E2D-CD4C-439C-955B-BDD952B126F0}" dt="2021-03-08T09:56:10.688" v="3769"/>
          <ac:spMkLst>
            <pc:docMk/>
            <pc:sldMk cId="1947420367" sldId="7333"/>
            <ac:spMk id="25" creationId="{62F441A8-CBFA-4807-AA42-A25161B73984}"/>
          </ac:spMkLst>
        </pc:spChg>
        <pc:spChg chg="mod ord">
          <ac:chgData name="Ugo MANTEL" userId="2d5b7065-31bb-4181-a7f8-a73bf0c30211" providerId="ADAL" clId="{2A660E2D-CD4C-439C-955B-BDD952B126F0}" dt="2021-03-08T09:56:10.688" v="3771"/>
          <ac:spMkLst>
            <pc:docMk/>
            <pc:sldMk cId="1947420367" sldId="7333"/>
            <ac:spMk id="26" creationId="{9532E04E-BD40-4781-95C1-B1CB4629888D}"/>
          </ac:spMkLst>
        </pc:spChg>
        <pc:spChg chg="mod ord">
          <ac:chgData name="Ugo MANTEL" userId="2d5b7065-31bb-4181-a7f8-a73bf0c30211" providerId="ADAL" clId="{2A660E2D-CD4C-439C-955B-BDD952B126F0}" dt="2021-03-08T13:57:45.160" v="31229" actId="20577"/>
          <ac:spMkLst>
            <pc:docMk/>
            <pc:sldMk cId="1947420367" sldId="7333"/>
            <ac:spMk id="27" creationId="{3D60F54E-E0B3-4D5A-9146-8B3E9297DA9A}"/>
          </ac:spMkLst>
        </pc:spChg>
        <pc:spChg chg="mod ord">
          <ac:chgData name="Ugo MANTEL" userId="2d5b7065-31bb-4181-a7f8-a73bf0c30211" providerId="ADAL" clId="{2A660E2D-CD4C-439C-955B-BDD952B126F0}" dt="2021-03-08T09:56:10.688" v="3775"/>
          <ac:spMkLst>
            <pc:docMk/>
            <pc:sldMk cId="1947420367" sldId="7333"/>
            <ac:spMk id="28" creationId="{7DBC0A10-C77D-406E-9FE1-C469891D4A13}"/>
          </ac:spMkLst>
        </pc:spChg>
        <pc:spChg chg="add del mod modVis">
          <ac:chgData name="Ugo MANTEL" userId="2d5b7065-31bb-4181-a7f8-a73bf0c30211" providerId="ADAL" clId="{2A660E2D-CD4C-439C-955B-BDD952B126F0}" dt="2021-03-08T10:13:18.108" v="24560"/>
          <ac:spMkLst>
            <pc:docMk/>
            <pc:sldMk cId="1947420367" sldId="7333"/>
            <ac:spMk id="29" creationId="{660FC4C9-6893-4F5E-80FC-3C6ABC29CCF8}"/>
          </ac:spMkLst>
        </pc:spChg>
        <pc:spChg chg="add del mod modVis">
          <ac:chgData name="Ugo MANTEL" userId="2d5b7065-31bb-4181-a7f8-a73bf0c30211" providerId="ADAL" clId="{2A660E2D-CD4C-439C-955B-BDD952B126F0}" dt="2021-03-08T10:13:18.883" v="24601"/>
          <ac:spMkLst>
            <pc:docMk/>
            <pc:sldMk cId="1947420367" sldId="7333"/>
            <ac:spMk id="31" creationId="{DD2E2E57-3F90-425B-AB8E-154BDFF4509E}"/>
          </ac:spMkLst>
        </pc:spChg>
        <pc:spChg chg="add mod">
          <ac:chgData name="Ugo MANTEL" userId="2d5b7065-31bb-4181-a7f8-a73bf0c30211" providerId="ADAL" clId="{2A660E2D-CD4C-439C-955B-BDD952B126F0}" dt="2021-03-08T13:58:57.158" v="31237" actId="20577"/>
          <ac:spMkLst>
            <pc:docMk/>
            <pc:sldMk cId="1947420367" sldId="7333"/>
            <ac:spMk id="33" creationId="{BB799233-09D2-408F-9392-0CF66AC92A2D}"/>
          </ac:spMkLst>
        </pc:spChg>
        <pc:spChg chg="add del mod modVis">
          <ac:chgData name="Ugo MANTEL" userId="2d5b7065-31bb-4181-a7f8-a73bf0c30211" providerId="ADAL" clId="{2A660E2D-CD4C-439C-955B-BDD952B126F0}" dt="2021-03-08T10:13:20.976" v="24646"/>
          <ac:spMkLst>
            <pc:docMk/>
            <pc:sldMk cId="1947420367" sldId="7333"/>
            <ac:spMk id="35" creationId="{A4BF21F7-46CA-41C4-93E5-F6606B81E9F1}"/>
          </ac:spMkLst>
        </pc:spChg>
        <pc:spChg chg="add del mod modVis">
          <ac:chgData name="Ugo MANTEL" userId="2d5b7065-31bb-4181-a7f8-a73bf0c30211" providerId="ADAL" clId="{2A660E2D-CD4C-439C-955B-BDD952B126F0}" dt="2021-03-08T10:13:23.805" v="24696"/>
          <ac:spMkLst>
            <pc:docMk/>
            <pc:sldMk cId="1947420367" sldId="7333"/>
            <ac:spMk id="36" creationId="{4AE8E1CC-4C02-43EA-8FA6-E9776C7748BA}"/>
          </ac:spMkLst>
        </pc:spChg>
        <pc:spChg chg="add del mod modVis">
          <ac:chgData name="Ugo MANTEL" userId="2d5b7065-31bb-4181-a7f8-a73bf0c30211" providerId="ADAL" clId="{2A660E2D-CD4C-439C-955B-BDD952B126F0}" dt="2021-03-08T10:13:26.892" v="24745"/>
          <ac:spMkLst>
            <pc:docMk/>
            <pc:sldMk cId="1947420367" sldId="7333"/>
            <ac:spMk id="37" creationId="{A3ED3C41-74B5-44AD-838E-FE97C95C6ACD}"/>
          </ac:spMkLst>
        </pc:spChg>
        <pc:spChg chg="add del mod modVis">
          <ac:chgData name="Ugo MANTEL" userId="2d5b7065-31bb-4181-a7f8-a73bf0c30211" providerId="ADAL" clId="{2A660E2D-CD4C-439C-955B-BDD952B126F0}" dt="2021-03-08T10:13:27.512" v="24786"/>
          <ac:spMkLst>
            <pc:docMk/>
            <pc:sldMk cId="1947420367" sldId="7333"/>
            <ac:spMk id="38" creationId="{4D49F586-C89A-4869-8659-3F89040A3415}"/>
          </ac:spMkLst>
        </pc:spChg>
        <pc:spChg chg="add del mod modVis">
          <ac:chgData name="Ugo MANTEL" userId="2d5b7065-31bb-4181-a7f8-a73bf0c30211" providerId="ADAL" clId="{2A660E2D-CD4C-439C-955B-BDD952B126F0}" dt="2021-03-08T10:13:30.536" v="24836"/>
          <ac:spMkLst>
            <pc:docMk/>
            <pc:sldMk cId="1947420367" sldId="7333"/>
            <ac:spMk id="40" creationId="{B0BF3A51-CE01-42AA-A71D-7FD0EF3A0A5A}"/>
          </ac:spMkLst>
        </pc:spChg>
        <pc:spChg chg="add mod">
          <ac:chgData name="Ugo MANTEL" userId="2d5b7065-31bb-4181-a7f8-a73bf0c30211" providerId="ADAL" clId="{2A660E2D-CD4C-439C-955B-BDD952B126F0}" dt="2021-03-08T09:57:18.269" v="3805" actId="571"/>
          <ac:spMkLst>
            <pc:docMk/>
            <pc:sldMk cId="1947420367" sldId="7333"/>
            <ac:spMk id="41" creationId="{87C8AC6B-97BD-4A4E-86E4-E38D45D244CA}"/>
          </ac:spMkLst>
        </pc:spChg>
        <pc:spChg chg="add mod">
          <ac:chgData name="Ugo MANTEL" userId="2d5b7065-31bb-4181-a7f8-a73bf0c30211" providerId="ADAL" clId="{2A660E2D-CD4C-439C-955B-BDD952B126F0}" dt="2021-03-08T09:57:18.269" v="3805" actId="571"/>
          <ac:spMkLst>
            <pc:docMk/>
            <pc:sldMk cId="1947420367" sldId="7333"/>
            <ac:spMk id="42" creationId="{5DE57C70-ED87-4504-B750-89CE38529CC1}"/>
          </ac:spMkLst>
        </pc:spChg>
        <pc:spChg chg="add del mod modVis">
          <ac:chgData name="Ugo MANTEL" userId="2d5b7065-31bb-4181-a7f8-a73bf0c30211" providerId="ADAL" clId="{2A660E2D-CD4C-439C-955B-BDD952B126F0}" dt="2021-03-08T10:13:31.154" v="24877"/>
          <ac:spMkLst>
            <pc:docMk/>
            <pc:sldMk cId="1947420367" sldId="7333"/>
            <ac:spMk id="44" creationId="{345ABA27-80D7-45AB-B425-B68193F8F5BA}"/>
          </ac:spMkLst>
        </pc:spChg>
        <pc:spChg chg="add del mod modVis">
          <ac:chgData name="Ugo MANTEL" userId="2d5b7065-31bb-4181-a7f8-a73bf0c30211" providerId="ADAL" clId="{2A660E2D-CD4C-439C-955B-BDD952B126F0}" dt="2021-03-08T10:13:33.753" v="24933"/>
          <ac:spMkLst>
            <pc:docMk/>
            <pc:sldMk cId="1947420367" sldId="7333"/>
            <ac:spMk id="45" creationId="{9125E663-B7C0-444C-B08F-B6858DA27D44}"/>
          </ac:spMkLst>
        </pc:spChg>
        <pc:spChg chg="add del mod modVis">
          <ac:chgData name="Ugo MANTEL" userId="2d5b7065-31bb-4181-a7f8-a73bf0c30211" providerId="ADAL" clId="{2A660E2D-CD4C-439C-955B-BDD952B126F0}" dt="2021-03-08T10:13:34.545" v="24974"/>
          <ac:spMkLst>
            <pc:docMk/>
            <pc:sldMk cId="1947420367" sldId="7333"/>
            <ac:spMk id="46" creationId="{901D2D34-C4F9-41BA-8719-AFD7F3B6E5E3}"/>
          </ac:spMkLst>
        </pc:spChg>
        <pc:spChg chg="add del mod modVis">
          <ac:chgData name="Ugo MANTEL" userId="2d5b7065-31bb-4181-a7f8-a73bf0c30211" providerId="ADAL" clId="{2A660E2D-CD4C-439C-955B-BDD952B126F0}" dt="2021-03-08T10:13:37.759" v="25030"/>
          <ac:spMkLst>
            <pc:docMk/>
            <pc:sldMk cId="1947420367" sldId="7333"/>
            <ac:spMk id="47" creationId="{09E7EB10-D2E5-4EC0-9A50-CC540416FC86}"/>
          </ac:spMkLst>
        </pc:spChg>
        <pc:spChg chg="add del mod modVis">
          <ac:chgData name="Ugo MANTEL" userId="2d5b7065-31bb-4181-a7f8-a73bf0c30211" providerId="ADAL" clId="{2A660E2D-CD4C-439C-955B-BDD952B126F0}" dt="2021-03-08T10:13:38.702" v="25071"/>
          <ac:spMkLst>
            <pc:docMk/>
            <pc:sldMk cId="1947420367" sldId="7333"/>
            <ac:spMk id="48" creationId="{50370C88-46D1-4519-A99D-673A14FED1CC}"/>
          </ac:spMkLst>
        </pc:spChg>
        <pc:spChg chg="add del mod modVis">
          <ac:chgData name="Ugo MANTEL" userId="2d5b7065-31bb-4181-a7f8-a73bf0c30211" providerId="ADAL" clId="{2A660E2D-CD4C-439C-955B-BDD952B126F0}" dt="2021-03-08T10:13:42.462" v="25128"/>
          <ac:spMkLst>
            <pc:docMk/>
            <pc:sldMk cId="1947420367" sldId="7333"/>
            <ac:spMk id="49" creationId="{7AA49241-6E45-4289-B5A7-F338258449D0}"/>
          </ac:spMkLst>
        </pc:spChg>
        <pc:spChg chg="add del mod modVis">
          <ac:chgData name="Ugo MANTEL" userId="2d5b7065-31bb-4181-a7f8-a73bf0c30211" providerId="ADAL" clId="{2A660E2D-CD4C-439C-955B-BDD952B126F0}" dt="2021-03-08T10:13:43.062" v="25170"/>
          <ac:spMkLst>
            <pc:docMk/>
            <pc:sldMk cId="1947420367" sldId="7333"/>
            <ac:spMk id="50" creationId="{0F1D5B43-023C-4784-8330-0E81A3781F4B}"/>
          </ac:spMkLst>
        </pc:spChg>
        <pc:spChg chg="add del mod modVis">
          <ac:chgData name="Ugo MANTEL" userId="2d5b7065-31bb-4181-a7f8-a73bf0c30211" providerId="ADAL" clId="{2A660E2D-CD4C-439C-955B-BDD952B126F0}" dt="2021-03-08T10:13:44.120" v="25212"/>
          <ac:spMkLst>
            <pc:docMk/>
            <pc:sldMk cId="1947420367" sldId="7333"/>
            <ac:spMk id="51" creationId="{DBFEF856-30F2-48E7-84D5-C4450E9E6DE2}"/>
          </ac:spMkLst>
        </pc:spChg>
        <pc:spChg chg="add del mod modVis">
          <ac:chgData name="Ugo MANTEL" userId="2d5b7065-31bb-4181-a7f8-a73bf0c30211" providerId="ADAL" clId="{2A660E2D-CD4C-439C-955B-BDD952B126F0}" dt="2021-03-08T10:13:44.810" v="25253"/>
          <ac:spMkLst>
            <pc:docMk/>
            <pc:sldMk cId="1947420367" sldId="7333"/>
            <ac:spMk id="52" creationId="{D9615696-FE53-42AD-B506-6AE6BFFEAEA9}"/>
          </ac:spMkLst>
        </pc:spChg>
        <pc:spChg chg="add del mod modVis">
          <ac:chgData name="Ugo MANTEL" userId="2d5b7065-31bb-4181-a7f8-a73bf0c30211" providerId="ADAL" clId="{2A660E2D-CD4C-439C-955B-BDD952B126F0}" dt="2021-03-08T10:13:46.360" v="25297"/>
          <ac:spMkLst>
            <pc:docMk/>
            <pc:sldMk cId="1947420367" sldId="7333"/>
            <ac:spMk id="53" creationId="{5D9D866E-D0E2-43E7-8659-8B57CEFC1281}"/>
          </ac:spMkLst>
        </pc:spChg>
        <pc:spChg chg="add del mod modVis">
          <ac:chgData name="Ugo MANTEL" userId="2d5b7065-31bb-4181-a7f8-a73bf0c30211" providerId="ADAL" clId="{2A660E2D-CD4C-439C-955B-BDD952B126F0}" dt="2021-03-08T10:13:48.162" v="25341"/>
          <ac:spMkLst>
            <pc:docMk/>
            <pc:sldMk cId="1947420367" sldId="7333"/>
            <ac:spMk id="54" creationId="{E8351A2D-ADFC-4F9A-918F-B917EF565DAD}"/>
          </ac:spMkLst>
        </pc:spChg>
        <pc:spChg chg="add del mod modVis">
          <ac:chgData name="Ugo MANTEL" userId="2d5b7065-31bb-4181-a7f8-a73bf0c30211" providerId="ADAL" clId="{2A660E2D-CD4C-439C-955B-BDD952B126F0}" dt="2021-03-08T10:13:49.042" v="25384"/>
          <ac:spMkLst>
            <pc:docMk/>
            <pc:sldMk cId="1947420367" sldId="7333"/>
            <ac:spMk id="55" creationId="{8FB189FD-F74F-4936-A1CB-C94AD7B8F17F}"/>
          </ac:spMkLst>
        </pc:spChg>
        <pc:spChg chg="add del mod modVis">
          <ac:chgData name="Ugo MANTEL" userId="2d5b7065-31bb-4181-a7f8-a73bf0c30211" providerId="ADAL" clId="{2A660E2D-CD4C-439C-955B-BDD952B126F0}" dt="2021-03-08T10:13:51.641" v="25441"/>
          <ac:spMkLst>
            <pc:docMk/>
            <pc:sldMk cId="1947420367" sldId="7333"/>
            <ac:spMk id="56" creationId="{951A0401-AE40-4CDA-9581-171D97AB3ED3}"/>
          </ac:spMkLst>
        </pc:spChg>
        <pc:spChg chg="add del mod modVis">
          <ac:chgData name="Ugo MANTEL" userId="2d5b7065-31bb-4181-a7f8-a73bf0c30211" providerId="ADAL" clId="{2A660E2D-CD4C-439C-955B-BDD952B126F0}" dt="2021-03-08T10:13:52.427" v="25482"/>
          <ac:spMkLst>
            <pc:docMk/>
            <pc:sldMk cId="1947420367" sldId="7333"/>
            <ac:spMk id="57" creationId="{DD3A30FD-773B-4A93-8A3B-BF66BE1D7105}"/>
          </ac:spMkLst>
        </pc:spChg>
        <pc:spChg chg="add del mod modVis">
          <ac:chgData name="Ugo MANTEL" userId="2d5b7065-31bb-4181-a7f8-a73bf0c30211" providerId="ADAL" clId="{2A660E2D-CD4C-439C-955B-BDD952B126F0}" dt="2021-03-08T10:13:53.281" v="25525"/>
          <ac:spMkLst>
            <pc:docMk/>
            <pc:sldMk cId="1947420367" sldId="7333"/>
            <ac:spMk id="58" creationId="{98E51592-0F46-44FD-9822-8C61B3C5366D}"/>
          </ac:spMkLst>
        </pc:spChg>
        <pc:spChg chg="add del mod modVis">
          <ac:chgData name="Ugo MANTEL" userId="2d5b7065-31bb-4181-a7f8-a73bf0c30211" providerId="ADAL" clId="{2A660E2D-CD4C-439C-955B-BDD952B126F0}" dt="2021-03-08T10:13:56.291" v="25566"/>
          <ac:spMkLst>
            <pc:docMk/>
            <pc:sldMk cId="1947420367" sldId="7333"/>
            <ac:spMk id="59" creationId="{508B4881-B403-44EC-B9C7-43E8878D39AD}"/>
          </ac:spMkLst>
        </pc:spChg>
        <pc:spChg chg="add del mod modVis">
          <ac:chgData name="Ugo MANTEL" userId="2d5b7065-31bb-4181-a7f8-a73bf0c30211" providerId="ADAL" clId="{2A660E2D-CD4C-439C-955B-BDD952B126F0}" dt="2021-03-08T10:13:57.291" v="25607"/>
          <ac:spMkLst>
            <pc:docMk/>
            <pc:sldMk cId="1947420367" sldId="7333"/>
            <ac:spMk id="60" creationId="{9DC0E51B-DB1D-477F-B4D4-BE0F727A025E}"/>
          </ac:spMkLst>
        </pc:spChg>
        <pc:spChg chg="add del mod modVis">
          <ac:chgData name="Ugo MANTEL" userId="2d5b7065-31bb-4181-a7f8-a73bf0c30211" providerId="ADAL" clId="{2A660E2D-CD4C-439C-955B-BDD952B126F0}" dt="2021-03-08T10:13:58.744" v="25650"/>
          <ac:spMkLst>
            <pc:docMk/>
            <pc:sldMk cId="1947420367" sldId="7333"/>
            <ac:spMk id="61" creationId="{FF8DE536-403E-4901-9A31-32556283608C}"/>
          </ac:spMkLst>
        </pc:spChg>
        <pc:spChg chg="add del mod modVis">
          <ac:chgData name="Ugo MANTEL" userId="2d5b7065-31bb-4181-a7f8-a73bf0c30211" providerId="ADAL" clId="{2A660E2D-CD4C-439C-955B-BDD952B126F0}" dt="2021-03-08T10:14:00.622" v="25692"/>
          <ac:spMkLst>
            <pc:docMk/>
            <pc:sldMk cId="1947420367" sldId="7333"/>
            <ac:spMk id="62" creationId="{F961F3A7-EF83-4EF1-B410-86BAD05DB767}"/>
          </ac:spMkLst>
        </pc:spChg>
        <pc:spChg chg="add del mod modVis">
          <ac:chgData name="Ugo MANTEL" userId="2d5b7065-31bb-4181-a7f8-a73bf0c30211" providerId="ADAL" clId="{2A660E2D-CD4C-439C-955B-BDD952B126F0}" dt="2021-03-08T10:14:06.063" v="25747"/>
          <ac:spMkLst>
            <pc:docMk/>
            <pc:sldMk cId="1947420367" sldId="7333"/>
            <ac:spMk id="63" creationId="{02D4B985-3683-4B82-8E9C-92AA1ED9B95A}"/>
          </ac:spMkLst>
        </pc:spChg>
        <pc:spChg chg="add del mod modVis">
          <ac:chgData name="Ugo MANTEL" userId="2d5b7065-31bb-4181-a7f8-a73bf0c30211" providerId="ADAL" clId="{2A660E2D-CD4C-439C-955B-BDD952B126F0}" dt="2021-03-08T10:14:10.908" v="25788"/>
          <ac:spMkLst>
            <pc:docMk/>
            <pc:sldMk cId="1947420367" sldId="7333"/>
            <ac:spMk id="576" creationId="{CB82C6AA-8FAD-4D8A-8FB3-EDED450DD558}"/>
          </ac:spMkLst>
        </pc:spChg>
        <pc:spChg chg="add del mod modVis">
          <ac:chgData name="Ugo MANTEL" userId="2d5b7065-31bb-4181-a7f8-a73bf0c30211" providerId="ADAL" clId="{2A660E2D-CD4C-439C-955B-BDD952B126F0}" dt="2021-03-08T10:14:14.175" v="25831"/>
          <ac:spMkLst>
            <pc:docMk/>
            <pc:sldMk cId="1947420367" sldId="7333"/>
            <ac:spMk id="577" creationId="{5561BD1B-BE4E-4104-8919-94539E95DB06}"/>
          </ac:spMkLst>
        </pc:spChg>
        <pc:spChg chg="add del mod modVis">
          <ac:chgData name="Ugo MANTEL" userId="2d5b7065-31bb-4181-a7f8-a73bf0c30211" providerId="ADAL" clId="{2A660E2D-CD4C-439C-955B-BDD952B126F0}" dt="2021-03-08T10:14:20.749" v="25872"/>
          <ac:spMkLst>
            <pc:docMk/>
            <pc:sldMk cId="1947420367" sldId="7333"/>
            <ac:spMk id="578" creationId="{25B2305E-A8C8-41E4-9CD0-87696E77FF84}"/>
          </ac:spMkLst>
        </pc:spChg>
        <pc:spChg chg="add del mod modVis">
          <ac:chgData name="Ugo MANTEL" userId="2d5b7065-31bb-4181-a7f8-a73bf0c30211" providerId="ADAL" clId="{2A660E2D-CD4C-439C-955B-BDD952B126F0}" dt="2021-03-08T10:15:42.779" v="25964"/>
          <ac:spMkLst>
            <pc:docMk/>
            <pc:sldMk cId="1947420367" sldId="7333"/>
            <ac:spMk id="579" creationId="{E7112B1B-F237-46D3-86A2-623239EC0AA3}"/>
          </ac:spMkLst>
        </pc:spChg>
        <pc:spChg chg="add del mod modVis">
          <ac:chgData name="Ugo MANTEL" userId="2d5b7065-31bb-4181-a7f8-a73bf0c30211" providerId="ADAL" clId="{2A660E2D-CD4C-439C-955B-BDD952B126F0}" dt="2021-03-08T10:16:02.479" v="26088"/>
          <ac:spMkLst>
            <pc:docMk/>
            <pc:sldMk cId="1947420367" sldId="7333"/>
            <ac:spMk id="580" creationId="{E7680560-9DFD-4243-97DA-29EF4815F15F}"/>
          </ac:spMkLst>
        </pc:spChg>
        <pc:spChg chg="mod ord">
          <ac:chgData name="Ugo MANTEL" userId="2d5b7065-31bb-4181-a7f8-a73bf0c30211" providerId="ADAL" clId="{2A660E2D-CD4C-439C-955B-BDD952B126F0}" dt="2021-03-08T09:56:10.688" v="3781"/>
          <ac:spMkLst>
            <pc:docMk/>
            <pc:sldMk cId="1947420367" sldId="7333"/>
            <ac:spMk id="584" creationId="{899589CB-45AE-4F94-BBEB-C9F32B82E1DB}"/>
          </ac:spMkLst>
        </pc:spChg>
        <pc:spChg chg="mod ord">
          <ac:chgData name="Ugo MANTEL" userId="2d5b7065-31bb-4181-a7f8-a73bf0c30211" providerId="ADAL" clId="{2A660E2D-CD4C-439C-955B-BDD952B126F0}" dt="2021-03-08T09:56:10.688" v="3783"/>
          <ac:spMkLst>
            <pc:docMk/>
            <pc:sldMk cId="1947420367" sldId="7333"/>
            <ac:spMk id="585" creationId="{3F0DF168-7912-4677-81B9-631A7AE1A782}"/>
          </ac:spMkLst>
        </pc:spChg>
        <pc:spChg chg="mod ord">
          <ac:chgData name="Ugo MANTEL" userId="2d5b7065-31bb-4181-a7f8-a73bf0c30211" providerId="ADAL" clId="{2A660E2D-CD4C-439C-955B-BDD952B126F0}" dt="2021-03-08T09:56:10.696" v="3785"/>
          <ac:spMkLst>
            <pc:docMk/>
            <pc:sldMk cId="1947420367" sldId="7333"/>
            <ac:spMk id="586" creationId="{8198288C-2021-4E0C-B24D-440404343D2D}"/>
          </ac:spMkLst>
        </pc:spChg>
        <pc:spChg chg="mod ord">
          <ac:chgData name="Ugo MANTEL" userId="2d5b7065-31bb-4181-a7f8-a73bf0c30211" providerId="ADAL" clId="{2A660E2D-CD4C-439C-955B-BDD952B126F0}" dt="2021-03-08T09:56:10.696" v="3787"/>
          <ac:spMkLst>
            <pc:docMk/>
            <pc:sldMk cId="1947420367" sldId="7333"/>
            <ac:spMk id="587" creationId="{410EEDC1-0348-49B7-9C87-75340D928A62}"/>
          </ac:spMkLst>
        </pc:spChg>
        <pc:spChg chg="mod ord">
          <ac:chgData name="Ugo MANTEL" userId="2d5b7065-31bb-4181-a7f8-a73bf0c30211" providerId="ADAL" clId="{2A660E2D-CD4C-439C-955B-BDD952B126F0}" dt="2021-03-08T09:56:10.699" v="3795"/>
          <ac:spMkLst>
            <pc:docMk/>
            <pc:sldMk cId="1947420367" sldId="7333"/>
            <ac:spMk id="595" creationId="{F3EC09FA-0A14-477E-84EB-3810DF9665D1}"/>
          </ac:spMkLst>
        </pc:spChg>
        <pc:graphicFrameChg chg="mod ord modGraphic">
          <ac:chgData name="Ugo MANTEL" userId="2d5b7065-31bb-4181-a7f8-a73bf0c30211" providerId="ADAL" clId="{2A660E2D-CD4C-439C-955B-BDD952B126F0}" dt="2021-03-08T10:14:54.021" v="25912" actId="113"/>
          <ac:graphicFrameMkLst>
            <pc:docMk/>
            <pc:sldMk cId="1947420367" sldId="7333"/>
            <ac:graphicFrameMk id="6" creationId="{40DF5000-C39C-49DC-9049-89450CA51B8F}"/>
          </ac:graphicFrameMkLst>
        </pc:graphicFrameChg>
        <pc:graphicFrameChg chg="del">
          <ac:chgData name="Ugo MANTEL" userId="2d5b7065-31bb-4181-a7f8-a73bf0c30211" providerId="ADAL" clId="{2A660E2D-CD4C-439C-955B-BDD952B126F0}" dt="2021-03-08T09:55:58.666" v="3703" actId="478"/>
          <ac:graphicFrameMkLst>
            <pc:docMk/>
            <pc:sldMk cId="1947420367" sldId="7333"/>
            <ac:graphicFrameMk id="7" creationId="{03894287-9D6A-46B2-B5B8-8EBC8033CF5B}"/>
          </ac:graphicFrameMkLst>
        </pc:graphicFrameChg>
        <pc:graphicFrameChg chg="mod ord">
          <ac:chgData name="Ugo MANTEL" userId="2d5b7065-31bb-4181-a7f8-a73bf0c30211" providerId="ADAL" clId="{2A660E2D-CD4C-439C-955B-BDD952B126F0}" dt="2021-03-08T10:16:02.483" v="26090"/>
          <ac:graphicFrameMkLst>
            <pc:docMk/>
            <pc:sldMk cId="1947420367" sldId="7333"/>
            <ac:graphicFrameMk id="9" creationId="{777857E2-6DF1-48EF-BB3F-BB1531140D04}"/>
          </ac:graphicFrameMkLst>
        </pc:graphicFrameChg>
        <pc:graphicFrameChg chg="add mod ord modGraphic">
          <ac:chgData name="Ugo MANTEL" userId="2d5b7065-31bb-4181-a7f8-a73bf0c30211" providerId="ADAL" clId="{2A660E2D-CD4C-439C-955B-BDD952B126F0}" dt="2021-03-08T10:15:04.029" v="25914" actId="113"/>
          <ac:graphicFrameMkLst>
            <pc:docMk/>
            <pc:sldMk cId="1947420367" sldId="7333"/>
            <ac:graphicFrameMk id="39" creationId="{0497DC71-DDA8-448E-AE0B-B31CCFE78801}"/>
          </ac:graphicFrameMkLst>
        </pc:graphicFrameChg>
        <pc:picChg chg="add mod ord">
          <ac:chgData name="Ugo MANTEL" userId="2d5b7065-31bb-4181-a7f8-a73bf0c30211" providerId="ADAL" clId="{2A660E2D-CD4C-439C-955B-BDD952B126F0}" dt="2021-03-08T09:56:10.699" v="3797"/>
          <ac:picMkLst>
            <pc:docMk/>
            <pc:sldMk cId="1947420367" sldId="7333"/>
            <ac:picMk id="32" creationId="{87DF11A9-65F9-4635-AA0F-D3CC1D3D1888}"/>
          </ac:picMkLst>
        </pc:picChg>
        <pc:picChg chg="add mod">
          <ac:chgData name="Ugo MANTEL" userId="2d5b7065-31bb-4181-a7f8-a73bf0c30211" providerId="ADAL" clId="{2A660E2D-CD4C-439C-955B-BDD952B126F0}" dt="2021-03-08T10:12:13.392" v="24024"/>
          <ac:picMkLst>
            <pc:docMk/>
            <pc:sldMk cId="1947420367" sldId="7333"/>
            <ac:picMk id="34" creationId="{4925EF5F-FA80-425F-A7BF-89D8BF9FD4D5}"/>
          </ac:picMkLst>
        </pc:picChg>
        <pc:picChg chg="mod ord">
          <ac:chgData name="Ugo MANTEL" userId="2d5b7065-31bb-4181-a7f8-a73bf0c30211" providerId="ADAL" clId="{2A660E2D-CD4C-439C-955B-BDD952B126F0}" dt="2021-03-08T09:56:10.699" v="3789"/>
          <ac:picMkLst>
            <pc:docMk/>
            <pc:sldMk cId="1947420367" sldId="7333"/>
            <ac:picMk id="588" creationId="{ABFD68D7-DF42-4D19-8EFC-9DF58835C4AF}"/>
          </ac:picMkLst>
        </pc:picChg>
        <pc:picChg chg="mod ord">
          <ac:chgData name="Ugo MANTEL" userId="2d5b7065-31bb-4181-a7f8-a73bf0c30211" providerId="ADAL" clId="{2A660E2D-CD4C-439C-955B-BDD952B126F0}" dt="2021-03-08T09:56:10.699" v="3791"/>
          <ac:picMkLst>
            <pc:docMk/>
            <pc:sldMk cId="1947420367" sldId="7333"/>
            <ac:picMk id="589" creationId="{29CC5E62-C40E-42AE-BC62-C49140EEEB63}"/>
          </ac:picMkLst>
        </pc:picChg>
        <pc:picChg chg="mod ord">
          <ac:chgData name="Ugo MANTEL" userId="2d5b7065-31bb-4181-a7f8-a73bf0c30211" providerId="ADAL" clId="{2A660E2D-CD4C-439C-955B-BDD952B126F0}" dt="2021-03-08T09:56:10.699" v="3793"/>
          <ac:picMkLst>
            <pc:docMk/>
            <pc:sldMk cId="1947420367" sldId="7333"/>
            <ac:picMk id="590" creationId="{DBC9C08A-3DE4-4E8A-B523-037FE1B1D904}"/>
          </ac:picMkLst>
        </pc:picChg>
        <pc:picChg chg="del">
          <ac:chgData name="Ugo MANTEL" userId="2d5b7065-31bb-4181-a7f8-a73bf0c30211" providerId="ADAL" clId="{2A660E2D-CD4C-439C-955B-BDD952B126F0}" dt="2021-03-08T09:34:03.015" v="3656" actId="478"/>
          <ac:picMkLst>
            <pc:docMk/>
            <pc:sldMk cId="1947420367" sldId="7333"/>
            <ac:picMk id="598" creationId="{E068B7ED-C84D-4278-A852-B3DE90D0B9F6}"/>
          </ac:picMkLst>
        </pc:picChg>
        <pc:picChg chg="del">
          <ac:chgData name="Ugo MANTEL" userId="2d5b7065-31bb-4181-a7f8-a73bf0c30211" providerId="ADAL" clId="{2A660E2D-CD4C-439C-955B-BDD952B126F0}" dt="2021-03-08T09:34:03.015" v="3656" actId="478"/>
          <ac:picMkLst>
            <pc:docMk/>
            <pc:sldMk cId="1947420367" sldId="7333"/>
            <ac:picMk id="599" creationId="{EF7EDC00-C64A-4042-ABCE-5D5D1B15261F}"/>
          </ac:picMkLst>
        </pc:picChg>
        <pc:picChg chg="del">
          <ac:chgData name="Ugo MANTEL" userId="2d5b7065-31bb-4181-a7f8-a73bf0c30211" providerId="ADAL" clId="{2A660E2D-CD4C-439C-955B-BDD952B126F0}" dt="2021-03-08T09:34:03.015" v="3656" actId="478"/>
          <ac:picMkLst>
            <pc:docMk/>
            <pc:sldMk cId="1947420367" sldId="7333"/>
            <ac:picMk id="600" creationId="{9411C671-8E4C-4E07-8858-77C1356E5253}"/>
          </ac:picMkLst>
        </pc:picChg>
        <pc:cxnChg chg="mod ord">
          <ac:chgData name="Ugo MANTEL" userId="2d5b7065-31bb-4181-a7f8-a73bf0c30211" providerId="ADAL" clId="{2A660E2D-CD4C-439C-955B-BDD952B126F0}" dt="2021-03-08T09:56:10.688" v="3777"/>
          <ac:cxnSpMkLst>
            <pc:docMk/>
            <pc:sldMk cId="1947420367" sldId="7333"/>
            <ac:cxnSpMk id="30" creationId="{87170DDA-478F-4AAA-820D-FECB02AEA468}"/>
          </ac:cxnSpMkLst>
        </pc:cxnChg>
        <pc:cxnChg chg="del mod ord">
          <ac:chgData name="Ugo MANTEL" userId="2d5b7065-31bb-4181-a7f8-a73bf0c30211" providerId="ADAL" clId="{2A660E2D-CD4C-439C-955B-BDD952B126F0}" dt="2021-03-08T09:57:02.301" v="3804" actId="478"/>
          <ac:cxnSpMkLst>
            <pc:docMk/>
            <pc:sldMk cId="1947420367" sldId="7333"/>
            <ac:cxnSpMk id="31" creationId="{E6901D46-A089-420D-97C5-9BB58C57F637}"/>
          </ac:cxnSpMkLst>
        </pc:cxnChg>
        <pc:cxnChg chg="add mod">
          <ac:chgData name="Ugo MANTEL" userId="2d5b7065-31bb-4181-a7f8-a73bf0c30211" providerId="ADAL" clId="{2A660E2D-CD4C-439C-955B-BDD952B126F0}" dt="2021-03-08T09:57:18.269" v="3805" actId="571"/>
          <ac:cxnSpMkLst>
            <pc:docMk/>
            <pc:sldMk cId="1947420367" sldId="7333"/>
            <ac:cxnSpMk id="43" creationId="{D4AF4DD8-6D6D-4687-BDB0-A01A0BBE82D8}"/>
          </ac:cxnSpMkLst>
        </pc:cxnChg>
      </pc:sldChg>
      <pc:sldChg chg="addSp delSp modSp add mod ord">
        <pc:chgData name="Ugo MANTEL" userId="2d5b7065-31bb-4181-a7f8-a73bf0c30211" providerId="ADAL" clId="{2A660E2D-CD4C-439C-955B-BDD952B126F0}" dt="2021-03-08T15:01:57.886" v="36061" actId="14100"/>
        <pc:sldMkLst>
          <pc:docMk/>
          <pc:sldMk cId="1868022673" sldId="7334"/>
        </pc:sldMkLst>
        <pc:spChg chg="mod">
          <ac:chgData name="Ugo MANTEL" userId="2d5b7065-31bb-4181-a7f8-a73bf0c30211" providerId="ADAL" clId="{2A660E2D-CD4C-439C-955B-BDD952B126F0}" dt="2021-03-08T13:55:03.957" v="31085"/>
          <ac:spMkLst>
            <pc:docMk/>
            <pc:sldMk cId="1868022673" sldId="7334"/>
            <ac:spMk id="2" creationId="{64576B3F-3BF3-47ED-8392-95410BFB7165}"/>
          </ac:spMkLst>
        </pc:spChg>
        <pc:spChg chg="mod ord">
          <ac:chgData name="Ugo MANTEL" userId="2d5b7065-31bb-4181-a7f8-a73bf0c30211" providerId="ADAL" clId="{2A660E2D-CD4C-439C-955B-BDD952B126F0}" dt="2021-03-08T15:01:57.886" v="36061" actId="14100"/>
          <ac:spMkLst>
            <pc:docMk/>
            <pc:sldMk cId="1868022673" sldId="7334"/>
            <ac:spMk id="3" creationId="{54F22942-C2FD-4CBD-8EDF-A48063B3C9C0}"/>
          </ac:spMkLst>
        </pc:spChg>
        <pc:spChg chg="add del mod modVis">
          <ac:chgData name="Ugo MANTEL" userId="2d5b7065-31bb-4181-a7f8-a73bf0c30211" providerId="ADAL" clId="{2A660E2D-CD4C-439C-955B-BDD952B126F0}" dt="2021-03-08T13:52:39.790" v="26218"/>
          <ac:spMkLst>
            <pc:docMk/>
            <pc:sldMk cId="1868022673" sldId="7334"/>
            <ac:spMk id="4" creationId="{7A78C9E4-C2F2-481A-B20B-6B3EA1824935}"/>
          </ac:spMkLst>
        </pc:spChg>
        <pc:spChg chg="add del mod ord modVis">
          <ac:chgData name="Ugo MANTEL" userId="2d5b7065-31bb-4181-a7f8-a73bf0c30211" providerId="ADAL" clId="{2A660E2D-CD4C-439C-955B-BDD952B126F0}" dt="2021-03-08T09:58:55.099" v="5246"/>
          <ac:spMkLst>
            <pc:docMk/>
            <pc:sldMk cId="1868022673" sldId="7334"/>
            <ac:spMk id="4" creationId="{997833A5-5C5D-4E42-91F4-C991B782E47F}"/>
          </ac:spMkLst>
        </pc:spChg>
        <pc:spChg chg="add del mod ord modVis">
          <ac:chgData name="Ugo MANTEL" userId="2d5b7065-31bb-4181-a7f8-a73bf0c30211" providerId="ADAL" clId="{2A660E2D-CD4C-439C-955B-BDD952B126F0}" dt="2021-03-08T10:02:56.382" v="16253"/>
          <ac:spMkLst>
            <pc:docMk/>
            <pc:sldMk cId="1868022673" sldId="7334"/>
            <ac:spMk id="4" creationId="{E4AB9F4D-07B7-4B7E-A7F5-4631F4EFD14F}"/>
          </ac:spMkLst>
        </pc:spChg>
        <pc:spChg chg="add del mod modVis">
          <ac:chgData name="Ugo MANTEL" userId="2d5b7065-31bb-4181-a7f8-a73bf0c30211" providerId="ADAL" clId="{2A660E2D-CD4C-439C-955B-BDD952B126F0}" dt="2021-03-08T13:52:41.183" v="26259"/>
          <ac:spMkLst>
            <pc:docMk/>
            <pc:sldMk cId="1868022673" sldId="7334"/>
            <ac:spMk id="5" creationId="{07F85B53-D731-483F-8CC7-030E21141DBD}"/>
          </ac:spMkLst>
        </pc:spChg>
        <pc:spChg chg="add del mod modVis">
          <ac:chgData name="Ugo MANTEL" userId="2d5b7065-31bb-4181-a7f8-a73bf0c30211" providerId="ADAL" clId="{2A660E2D-CD4C-439C-955B-BDD952B126F0}" dt="2021-03-08T13:52:41.912" v="26300"/>
          <ac:spMkLst>
            <pc:docMk/>
            <pc:sldMk cId="1868022673" sldId="7334"/>
            <ac:spMk id="6" creationId="{5CBADB2B-A657-4EA0-89A5-D2B1685B6B25}"/>
          </ac:spMkLst>
        </pc:spChg>
        <pc:spChg chg="add del mod ord modVis">
          <ac:chgData name="Ugo MANTEL" userId="2d5b7065-31bb-4181-a7f8-a73bf0c30211" providerId="ADAL" clId="{2A660E2D-CD4C-439C-955B-BDD952B126F0}" dt="2021-03-08T13:54:53.458" v="30419"/>
          <ac:spMkLst>
            <pc:docMk/>
            <pc:sldMk cId="1868022673" sldId="7334"/>
            <ac:spMk id="7" creationId="{3D876D50-47AF-4E15-ABCB-9EFC050D4265}"/>
          </ac:spMkLst>
        </pc:spChg>
        <pc:spChg chg="mod ord">
          <ac:chgData name="Ugo MANTEL" userId="2d5b7065-31bb-4181-a7f8-a73bf0c30211" providerId="ADAL" clId="{2A660E2D-CD4C-439C-955B-BDD952B126F0}" dt="2021-03-08T13:55:03.957" v="31084"/>
          <ac:spMkLst>
            <pc:docMk/>
            <pc:sldMk cId="1868022673" sldId="7334"/>
            <ac:spMk id="8" creationId="{CFC02BAD-456B-4773-9A5D-8C6871E49FAB}"/>
          </ac:spMkLst>
        </pc:spChg>
        <pc:spChg chg="mod ord">
          <ac:chgData name="Ugo MANTEL" userId="2d5b7065-31bb-4181-a7f8-a73bf0c30211" providerId="ADAL" clId="{2A660E2D-CD4C-439C-955B-BDD952B126F0}" dt="2021-03-08T13:55:03.959" v="31089"/>
          <ac:spMkLst>
            <pc:docMk/>
            <pc:sldMk cId="1868022673" sldId="7334"/>
            <ac:spMk id="10" creationId="{33FAE982-EF25-48C7-A786-AC0F0510B8D2}"/>
          </ac:spMkLst>
        </pc:spChg>
        <pc:spChg chg="mod ord">
          <ac:chgData name="Ugo MANTEL" userId="2d5b7065-31bb-4181-a7f8-a73bf0c30211" providerId="ADAL" clId="{2A660E2D-CD4C-439C-955B-BDD952B126F0}" dt="2021-03-08T13:55:03.962" v="31091"/>
          <ac:spMkLst>
            <pc:docMk/>
            <pc:sldMk cId="1868022673" sldId="7334"/>
            <ac:spMk id="11" creationId="{87D2F3C3-FA5C-421B-87D7-38B6AB2BF45B}"/>
          </ac:spMkLst>
        </pc:spChg>
        <pc:spChg chg="mod ord">
          <ac:chgData name="Ugo MANTEL" userId="2d5b7065-31bb-4181-a7f8-a73bf0c30211" providerId="ADAL" clId="{2A660E2D-CD4C-439C-955B-BDD952B126F0}" dt="2021-03-08T13:55:03.963" v="31093"/>
          <ac:spMkLst>
            <pc:docMk/>
            <pc:sldMk cId="1868022673" sldId="7334"/>
            <ac:spMk id="12" creationId="{1C3FF9CD-B1BC-4799-A632-81B0B66892EF}"/>
          </ac:spMkLst>
        </pc:spChg>
        <pc:spChg chg="add del mod ord modVis">
          <ac:chgData name="Ugo MANTEL" userId="2d5b7065-31bb-4181-a7f8-a73bf0c30211" providerId="ADAL" clId="{2A660E2D-CD4C-439C-955B-BDD952B126F0}" dt="2021-03-08T13:55:01.790" v="31050"/>
          <ac:spMkLst>
            <pc:docMk/>
            <pc:sldMk cId="1868022673" sldId="7334"/>
            <ac:spMk id="13" creationId="{195A91AE-A5AE-4FF3-91AC-04F2DE5309BF}"/>
          </ac:spMkLst>
        </pc:spChg>
        <pc:spChg chg="add mod">
          <ac:chgData name="Ugo MANTEL" userId="2d5b7065-31bb-4181-a7f8-a73bf0c30211" providerId="ADAL" clId="{2A660E2D-CD4C-439C-955B-BDD952B126F0}" dt="2021-03-08T14:59:08.358" v="36017" actId="20577"/>
          <ac:spMkLst>
            <pc:docMk/>
            <pc:sldMk cId="1868022673" sldId="7334"/>
            <ac:spMk id="14" creationId="{8116144E-4466-46D8-91DC-37E10E19BC57}"/>
          </ac:spMkLst>
        </pc:spChg>
        <pc:spChg chg="del mod ord">
          <ac:chgData name="Ugo MANTEL" userId="2d5b7065-31bb-4181-a7f8-a73bf0c30211" providerId="ADAL" clId="{2A660E2D-CD4C-439C-955B-BDD952B126F0}" dt="2021-03-08T10:05:28.432" v="20482" actId="478"/>
          <ac:spMkLst>
            <pc:docMk/>
            <pc:sldMk cId="1868022673" sldId="7334"/>
            <ac:spMk id="21" creationId="{86393647-7AF4-4521-B8B8-5AE0F22DC3B0}"/>
          </ac:spMkLst>
        </pc:spChg>
        <pc:spChg chg="del mod ord">
          <ac:chgData name="Ugo MANTEL" userId="2d5b7065-31bb-4181-a7f8-a73bf0c30211" providerId="ADAL" clId="{2A660E2D-CD4C-439C-955B-BDD952B126F0}" dt="2021-03-08T10:05:33.209" v="20483" actId="478"/>
          <ac:spMkLst>
            <pc:docMk/>
            <pc:sldMk cId="1868022673" sldId="7334"/>
            <ac:spMk id="22" creationId="{1485A8C1-E288-4C0E-8B53-A639DDDA682F}"/>
          </ac:spMkLst>
        </pc:spChg>
        <pc:spChg chg="add del mod ord modVis">
          <ac:chgData name="Ugo MANTEL" userId="2d5b7065-31bb-4181-a7f8-a73bf0c30211" providerId="ADAL" clId="{2A660E2D-CD4C-439C-955B-BDD952B126F0}" dt="2021-03-08T10:03:10.155" v="16722"/>
          <ac:spMkLst>
            <pc:docMk/>
            <pc:sldMk cId="1868022673" sldId="7334"/>
            <ac:spMk id="23" creationId="{3803A24E-320E-48CF-B010-79A1E21629E7}"/>
          </ac:spMkLst>
        </pc:spChg>
        <pc:spChg chg="add del mod">
          <ac:chgData name="Ugo MANTEL" userId="2d5b7065-31bb-4181-a7f8-a73bf0c30211" providerId="ADAL" clId="{2A660E2D-CD4C-439C-955B-BDD952B126F0}" dt="2021-03-08T10:00:00.176" v="9847"/>
          <ac:spMkLst>
            <pc:docMk/>
            <pc:sldMk cId="1868022673" sldId="7334"/>
            <ac:spMk id="23" creationId="{AF9F68BE-B975-455A-97DC-67DDE2D0AA78}"/>
          </ac:spMkLst>
        </pc:spChg>
        <pc:spChg chg="mod ord">
          <ac:chgData name="Ugo MANTEL" userId="2d5b7065-31bb-4181-a7f8-a73bf0c30211" providerId="ADAL" clId="{2A660E2D-CD4C-439C-955B-BDD952B126F0}" dt="2021-03-08T13:55:03.964" v="31095"/>
          <ac:spMkLst>
            <pc:docMk/>
            <pc:sldMk cId="1868022673" sldId="7334"/>
            <ac:spMk id="25" creationId="{62F441A8-CBFA-4807-AA42-A25161B73984}"/>
          </ac:spMkLst>
        </pc:spChg>
        <pc:spChg chg="mod ord">
          <ac:chgData name="Ugo MANTEL" userId="2d5b7065-31bb-4181-a7f8-a73bf0c30211" providerId="ADAL" clId="{2A660E2D-CD4C-439C-955B-BDD952B126F0}" dt="2021-03-08T13:55:03.965" v="31097"/>
          <ac:spMkLst>
            <pc:docMk/>
            <pc:sldMk cId="1868022673" sldId="7334"/>
            <ac:spMk id="26" creationId="{9532E04E-BD40-4781-95C1-B1CB4629888D}"/>
          </ac:spMkLst>
        </pc:spChg>
        <pc:spChg chg="mod ord">
          <ac:chgData name="Ugo MANTEL" userId="2d5b7065-31bb-4181-a7f8-a73bf0c30211" providerId="ADAL" clId="{2A660E2D-CD4C-439C-955B-BDD952B126F0}" dt="2021-03-08T13:57:48.714" v="31230" actId="20577"/>
          <ac:spMkLst>
            <pc:docMk/>
            <pc:sldMk cId="1868022673" sldId="7334"/>
            <ac:spMk id="27" creationId="{3D60F54E-E0B3-4D5A-9146-8B3E9297DA9A}"/>
          </ac:spMkLst>
        </pc:spChg>
        <pc:spChg chg="mod ord">
          <ac:chgData name="Ugo MANTEL" userId="2d5b7065-31bb-4181-a7f8-a73bf0c30211" providerId="ADAL" clId="{2A660E2D-CD4C-439C-955B-BDD952B126F0}" dt="2021-03-08T13:55:03.967" v="31101"/>
          <ac:spMkLst>
            <pc:docMk/>
            <pc:sldMk cId="1868022673" sldId="7334"/>
            <ac:spMk id="28" creationId="{7DBC0A10-C77D-406E-9FE1-C469891D4A13}"/>
          </ac:spMkLst>
        </pc:spChg>
        <pc:spChg chg="mod">
          <ac:chgData name="Ugo MANTEL" userId="2d5b7065-31bb-4181-a7f8-a73bf0c30211" providerId="ADAL" clId="{2A660E2D-CD4C-439C-955B-BDD952B126F0}" dt="2021-03-08T13:55:03.984" v="31126"/>
          <ac:spMkLst>
            <pc:docMk/>
            <pc:sldMk cId="1868022673" sldId="7334"/>
            <ac:spMk id="29" creationId="{2D50909B-D276-4130-8015-7E672A7A6AC8}"/>
          </ac:spMkLst>
        </pc:spChg>
        <pc:spChg chg="add del mod ord modVis">
          <ac:chgData name="Ugo MANTEL" userId="2d5b7065-31bb-4181-a7f8-a73bf0c30211" providerId="ADAL" clId="{2A660E2D-CD4C-439C-955B-BDD952B126F0}" dt="2021-03-08T09:59:02.890" v="5882"/>
          <ac:spMkLst>
            <pc:docMk/>
            <pc:sldMk cId="1868022673" sldId="7334"/>
            <ac:spMk id="31" creationId="{19EB3905-8AAE-41F3-A4F7-A71934F57C7B}"/>
          </ac:spMkLst>
        </pc:spChg>
        <pc:spChg chg="add del mod ord modVis">
          <ac:chgData name="Ugo MANTEL" userId="2d5b7065-31bb-4181-a7f8-a73bf0c30211" providerId="ADAL" clId="{2A660E2D-CD4C-439C-955B-BDD952B126F0}" dt="2021-03-08T10:03:13.119" v="17174"/>
          <ac:spMkLst>
            <pc:docMk/>
            <pc:sldMk cId="1868022673" sldId="7334"/>
            <ac:spMk id="31" creationId="{1B1447C2-55EC-48B9-AAD9-103CBE796FB3}"/>
          </ac:spMkLst>
        </pc:spChg>
        <pc:spChg chg="mod">
          <ac:chgData name="Ugo MANTEL" userId="2d5b7065-31bb-4181-a7f8-a73bf0c30211" providerId="ADAL" clId="{2A660E2D-CD4C-439C-955B-BDD952B126F0}" dt="2021-03-08T13:55:03.978" v="31117"/>
          <ac:spMkLst>
            <pc:docMk/>
            <pc:sldMk cId="1868022673" sldId="7334"/>
            <ac:spMk id="32" creationId="{E983B6CB-FA16-4AA5-AF97-0806A4EBDEEC}"/>
          </ac:spMkLst>
        </pc:spChg>
        <pc:spChg chg="mod">
          <ac:chgData name="Ugo MANTEL" userId="2d5b7065-31bb-4181-a7f8-a73bf0c30211" providerId="ADAL" clId="{2A660E2D-CD4C-439C-955B-BDD952B126F0}" dt="2021-03-08T13:55:03.984" v="31125"/>
          <ac:spMkLst>
            <pc:docMk/>
            <pc:sldMk cId="1868022673" sldId="7334"/>
            <ac:spMk id="33" creationId="{A4C42241-6C7E-4D8D-AE62-1CC497C7E1FC}"/>
          </ac:spMkLst>
        </pc:spChg>
        <pc:spChg chg="add del mod ord modVis">
          <ac:chgData name="Ugo MANTEL" userId="2d5b7065-31bb-4181-a7f8-a73bf0c30211" providerId="ADAL" clId="{2A660E2D-CD4C-439C-955B-BDD952B126F0}" dt="2021-03-08T10:03:30.254" v="17478"/>
          <ac:spMkLst>
            <pc:docMk/>
            <pc:sldMk cId="1868022673" sldId="7334"/>
            <ac:spMk id="35" creationId="{30C6EAA8-5648-4E90-8655-F81D42CCE866}"/>
          </ac:spMkLst>
        </pc:spChg>
        <pc:spChg chg="add del mod ord modVis">
          <ac:chgData name="Ugo MANTEL" userId="2d5b7065-31bb-4181-a7f8-a73bf0c30211" providerId="ADAL" clId="{2A660E2D-CD4C-439C-955B-BDD952B126F0}" dt="2021-03-08T09:59:10.226" v="6772"/>
          <ac:spMkLst>
            <pc:docMk/>
            <pc:sldMk cId="1868022673" sldId="7334"/>
            <ac:spMk id="35" creationId="{4353D696-9EFA-417E-92DE-47C501EE445B}"/>
          </ac:spMkLst>
        </pc:spChg>
        <pc:spChg chg="add del mod ord modVis">
          <ac:chgData name="Ugo MANTEL" userId="2d5b7065-31bb-4181-a7f8-a73bf0c30211" providerId="ADAL" clId="{2A660E2D-CD4C-439C-955B-BDD952B126F0}" dt="2021-03-08T10:03:42.571" v="17951"/>
          <ac:spMkLst>
            <pc:docMk/>
            <pc:sldMk cId="1868022673" sldId="7334"/>
            <ac:spMk id="36" creationId="{285F9EBD-F76A-4E22-8820-9D74262B6031}"/>
          </ac:spMkLst>
        </pc:spChg>
        <pc:spChg chg="add del mod ord modVis">
          <ac:chgData name="Ugo MANTEL" userId="2d5b7065-31bb-4181-a7f8-a73bf0c30211" providerId="ADAL" clId="{2A660E2D-CD4C-439C-955B-BDD952B126F0}" dt="2021-03-08T10:03:47.958" v="18359"/>
          <ac:spMkLst>
            <pc:docMk/>
            <pc:sldMk cId="1868022673" sldId="7334"/>
            <ac:spMk id="37" creationId="{44BE1E97-4A8C-472F-B46A-3D44191CC6D3}"/>
          </ac:spMkLst>
        </pc:spChg>
        <pc:spChg chg="add mod">
          <ac:chgData name="Ugo MANTEL" userId="2d5b7065-31bb-4181-a7f8-a73bf0c30211" providerId="ADAL" clId="{2A660E2D-CD4C-439C-955B-BDD952B126F0}" dt="2021-03-08T13:55:04.006" v="31171"/>
          <ac:spMkLst>
            <pc:docMk/>
            <pc:sldMk cId="1868022673" sldId="7334"/>
            <ac:spMk id="39" creationId="{4F1A31C2-2D55-4DD2-A91C-354B6357F503}"/>
          </ac:spMkLst>
        </pc:spChg>
        <pc:spChg chg="add del mod ord modVis">
          <ac:chgData name="Ugo MANTEL" userId="2d5b7065-31bb-4181-a7f8-a73bf0c30211" providerId="ADAL" clId="{2A660E2D-CD4C-439C-955B-BDD952B126F0}" dt="2021-03-08T09:59:16.856" v="7351"/>
          <ac:spMkLst>
            <pc:docMk/>
            <pc:sldMk cId="1868022673" sldId="7334"/>
            <ac:spMk id="39" creationId="{B83426B3-86FE-4977-AD86-6014B90C9E80}"/>
          </ac:spMkLst>
        </pc:spChg>
        <pc:spChg chg="add del mod ord modVis">
          <ac:chgData name="Ugo MANTEL" userId="2d5b7065-31bb-4181-a7f8-a73bf0c30211" providerId="ADAL" clId="{2A660E2D-CD4C-439C-955B-BDD952B126F0}" dt="2021-03-08T09:59:21.403" v="7675"/>
          <ac:spMkLst>
            <pc:docMk/>
            <pc:sldMk cId="1868022673" sldId="7334"/>
            <ac:spMk id="40" creationId="{6A8C2836-19AA-4240-B064-F7F56E253C1F}"/>
          </ac:spMkLst>
        </pc:spChg>
        <pc:spChg chg="add mod">
          <ac:chgData name="Ugo MANTEL" userId="2d5b7065-31bb-4181-a7f8-a73bf0c30211" providerId="ADAL" clId="{2A660E2D-CD4C-439C-955B-BDD952B126F0}" dt="2021-03-08T13:55:04.006" v="31172"/>
          <ac:spMkLst>
            <pc:docMk/>
            <pc:sldMk cId="1868022673" sldId="7334"/>
            <ac:spMk id="40" creationId="{F3329349-B322-4717-9977-C091552250CF}"/>
          </ac:spMkLst>
        </pc:spChg>
        <pc:spChg chg="add del mod ord modVis">
          <ac:chgData name="Ugo MANTEL" userId="2d5b7065-31bb-4181-a7f8-a73bf0c30211" providerId="ADAL" clId="{2A660E2D-CD4C-439C-955B-BDD952B126F0}" dt="2021-03-08T10:04:56.421" v="19203"/>
          <ac:spMkLst>
            <pc:docMk/>
            <pc:sldMk cId="1868022673" sldId="7334"/>
            <ac:spMk id="41" creationId="{24198211-52C3-48EA-868B-E83172B83DF2}"/>
          </ac:spMkLst>
        </pc:spChg>
        <pc:spChg chg="add del mod ord modVis">
          <ac:chgData name="Ugo MANTEL" userId="2d5b7065-31bb-4181-a7f8-a73bf0c30211" providerId="ADAL" clId="{2A660E2D-CD4C-439C-955B-BDD952B126F0}" dt="2021-03-08T09:59:25.035" v="8006"/>
          <ac:spMkLst>
            <pc:docMk/>
            <pc:sldMk cId="1868022673" sldId="7334"/>
            <ac:spMk id="41" creationId="{CE4BDA8D-00BE-40D5-8249-E2FE15C85E7E}"/>
          </ac:spMkLst>
        </pc:spChg>
        <pc:spChg chg="add del mod ord modVis">
          <ac:chgData name="Ugo MANTEL" userId="2d5b7065-31bb-4181-a7f8-a73bf0c30211" providerId="ADAL" clId="{2A660E2D-CD4C-439C-955B-BDD952B126F0}" dt="2021-03-08T09:59:31.309" v="8586"/>
          <ac:spMkLst>
            <pc:docMk/>
            <pc:sldMk cId="1868022673" sldId="7334"/>
            <ac:spMk id="42" creationId="{2DA8E376-9E52-4475-9023-21457369D4FB}"/>
          </ac:spMkLst>
        </pc:spChg>
        <pc:spChg chg="add del mod ord modVis">
          <ac:chgData name="Ugo MANTEL" userId="2d5b7065-31bb-4181-a7f8-a73bf0c30211" providerId="ADAL" clId="{2A660E2D-CD4C-439C-955B-BDD952B126F0}" dt="2021-03-08T10:05:00.326" v="19561"/>
          <ac:spMkLst>
            <pc:docMk/>
            <pc:sldMk cId="1868022673" sldId="7334"/>
            <ac:spMk id="42" creationId="{C568DEAD-C675-4F05-BC9B-45C411C37386}"/>
          </ac:spMkLst>
        </pc:spChg>
        <pc:spChg chg="add del mod ord modVis">
          <ac:chgData name="Ugo MANTEL" userId="2d5b7065-31bb-4181-a7f8-a73bf0c30211" providerId="ADAL" clId="{2A660E2D-CD4C-439C-955B-BDD952B126F0}" dt="2021-03-08T10:05:07.425" v="20001"/>
          <ac:spMkLst>
            <pc:docMk/>
            <pc:sldMk cId="1868022673" sldId="7334"/>
            <ac:spMk id="43" creationId="{7A18DDF7-A7D6-43CE-AD4B-752BB1F6B47E}"/>
          </ac:spMkLst>
        </pc:spChg>
        <pc:spChg chg="add del mod ord modVis">
          <ac:chgData name="Ugo MANTEL" userId="2d5b7065-31bb-4181-a7f8-a73bf0c30211" providerId="ADAL" clId="{2A660E2D-CD4C-439C-955B-BDD952B126F0}" dt="2021-03-08T09:59:39.365" v="9181"/>
          <ac:spMkLst>
            <pc:docMk/>
            <pc:sldMk cId="1868022673" sldId="7334"/>
            <ac:spMk id="43" creationId="{F2DF1E1C-9B76-4980-A48C-2CC3DA136D7A}"/>
          </ac:spMkLst>
        </pc:spChg>
        <pc:spChg chg="add del mod ord modVis">
          <ac:chgData name="Ugo MANTEL" userId="2d5b7065-31bb-4181-a7f8-a73bf0c30211" providerId="ADAL" clId="{2A660E2D-CD4C-439C-955B-BDD952B126F0}" dt="2021-03-08T10:05:49.826" v="20828"/>
          <ac:spMkLst>
            <pc:docMk/>
            <pc:sldMk cId="1868022673" sldId="7334"/>
            <ac:spMk id="44" creationId="{BD8C3E6F-127C-4168-A69F-FA2D3152C653}"/>
          </ac:spMkLst>
        </pc:spChg>
        <pc:spChg chg="add del mod ord modVis">
          <ac:chgData name="Ugo MANTEL" userId="2d5b7065-31bb-4181-a7f8-a73bf0c30211" providerId="ADAL" clId="{2A660E2D-CD4C-439C-955B-BDD952B126F0}" dt="2021-03-08T09:59:56.610" v="9545"/>
          <ac:spMkLst>
            <pc:docMk/>
            <pc:sldMk cId="1868022673" sldId="7334"/>
            <ac:spMk id="45" creationId="{8304AD76-B806-48F8-93C7-082829DCFB31}"/>
          </ac:spMkLst>
        </pc:spChg>
        <pc:spChg chg="add del mod ord modVis">
          <ac:chgData name="Ugo MANTEL" userId="2d5b7065-31bb-4181-a7f8-a73bf0c30211" providerId="ADAL" clId="{2A660E2D-CD4C-439C-955B-BDD952B126F0}" dt="2021-03-08T10:05:54.168" v="21326"/>
          <ac:spMkLst>
            <pc:docMk/>
            <pc:sldMk cId="1868022673" sldId="7334"/>
            <ac:spMk id="45" creationId="{93042786-EFA7-48D6-9BAB-744B8DAE8AB3}"/>
          </ac:spMkLst>
        </pc:spChg>
        <pc:spChg chg="add del mod ord modVis">
          <ac:chgData name="Ugo MANTEL" userId="2d5b7065-31bb-4181-a7f8-a73bf0c30211" providerId="ADAL" clId="{2A660E2D-CD4C-439C-955B-BDD952B126F0}" dt="2021-03-08T10:00:00.417" v="10083"/>
          <ac:spMkLst>
            <pc:docMk/>
            <pc:sldMk cId="1868022673" sldId="7334"/>
            <ac:spMk id="46" creationId="{A3639B1B-395E-45C4-93C3-DDC40AACA55C}"/>
          </ac:spMkLst>
        </pc:spChg>
        <pc:spChg chg="add del mod">
          <ac:chgData name="Ugo MANTEL" userId="2d5b7065-31bb-4181-a7f8-a73bf0c30211" providerId="ADAL" clId="{2A660E2D-CD4C-439C-955B-BDD952B126F0}" dt="2021-03-08T10:00:04.902" v="10086"/>
          <ac:spMkLst>
            <pc:docMk/>
            <pc:sldMk cId="1868022673" sldId="7334"/>
            <ac:spMk id="47" creationId="{B20788EB-6B8F-4014-AEBC-53BD9BAE6787}"/>
          </ac:spMkLst>
        </pc:spChg>
        <pc:spChg chg="add del mod">
          <ac:chgData name="Ugo MANTEL" userId="2d5b7065-31bb-4181-a7f8-a73bf0c30211" providerId="ADAL" clId="{2A660E2D-CD4C-439C-955B-BDD952B126F0}" dt="2021-03-08T10:00:04.902" v="10089"/>
          <ac:spMkLst>
            <pc:docMk/>
            <pc:sldMk cId="1868022673" sldId="7334"/>
            <ac:spMk id="48" creationId="{0E0B7212-DB83-4666-BB1E-8048012B0EDA}"/>
          </ac:spMkLst>
        </pc:spChg>
        <pc:spChg chg="mod">
          <ac:chgData name="Ugo MANTEL" userId="2d5b7065-31bb-4181-a7f8-a73bf0c30211" providerId="ADAL" clId="{2A660E2D-CD4C-439C-955B-BDD952B126F0}" dt="2021-03-08T13:55:03.994" v="31141"/>
          <ac:spMkLst>
            <pc:docMk/>
            <pc:sldMk cId="1868022673" sldId="7334"/>
            <ac:spMk id="49" creationId="{6BB7916F-8D04-479D-BB06-36EA6577D464}"/>
          </ac:spMkLst>
        </pc:spChg>
        <pc:spChg chg="add del mod ord modVis">
          <ac:chgData name="Ugo MANTEL" userId="2d5b7065-31bb-4181-a7f8-a73bf0c30211" providerId="ADAL" clId="{2A660E2D-CD4C-439C-955B-BDD952B126F0}" dt="2021-03-08T10:00:05.348" v="10430"/>
          <ac:spMkLst>
            <pc:docMk/>
            <pc:sldMk cId="1868022673" sldId="7334"/>
            <ac:spMk id="50" creationId="{3ACD8E9E-EA88-47D5-972E-6F7217A30BD5}"/>
          </ac:spMkLst>
        </pc:spChg>
        <pc:spChg chg="add del mod ord modVis">
          <ac:chgData name="Ugo MANTEL" userId="2d5b7065-31bb-4181-a7f8-a73bf0c30211" providerId="ADAL" clId="{2A660E2D-CD4C-439C-955B-BDD952B126F0}" dt="2021-03-08T10:00:14.797" v="10825"/>
          <ac:spMkLst>
            <pc:docMk/>
            <pc:sldMk cId="1868022673" sldId="7334"/>
            <ac:spMk id="51" creationId="{81D147D7-D9F4-442D-9D61-F5EEB010ABD4}"/>
          </ac:spMkLst>
        </pc:spChg>
        <pc:spChg chg="add del mod ord modVis">
          <ac:chgData name="Ugo MANTEL" userId="2d5b7065-31bb-4181-a7f8-a73bf0c30211" providerId="ADAL" clId="{2A660E2D-CD4C-439C-955B-BDD952B126F0}" dt="2021-03-08T10:00:16.654" v="11256"/>
          <ac:spMkLst>
            <pc:docMk/>
            <pc:sldMk cId="1868022673" sldId="7334"/>
            <ac:spMk id="53" creationId="{212CC96A-A675-4DF5-9608-09FF75C46ED3}"/>
          </ac:spMkLst>
        </pc:spChg>
        <pc:spChg chg="add del mod modVis">
          <ac:chgData name="Ugo MANTEL" userId="2d5b7065-31bb-4181-a7f8-a73bf0c30211" providerId="ADAL" clId="{2A660E2D-CD4C-439C-955B-BDD952B126F0}" dt="2021-03-08T10:15:50.082" v="26005"/>
          <ac:spMkLst>
            <pc:docMk/>
            <pc:sldMk cId="1868022673" sldId="7334"/>
            <ac:spMk id="53" creationId="{5DB772EC-3ED5-4551-AD65-96CBEFD5D397}"/>
          </ac:spMkLst>
        </pc:spChg>
        <pc:spChg chg="add del mod ord modVis">
          <ac:chgData name="Ugo MANTEL" userId="2d5b7065-31bb-4181-a7f8-a73bf0c30211" providerId="ADAL" clId="{2A660E2D-CD4C-439C-955B-BDD952B126F0}" dt="2021-03-08T10:00:22.400" v="11677"/>
          <ac:spMkLst>
            <pc:docMk/>
            <pc:sldMk cId="1868022673" sldId="7334"/>
            <ac:spMk id="54" creationId="{950CCECB-256F-48F4-A8A2-66047B6C2C5C}"/>
          </ac:spMkLst>
        </pc:spChg>
        <pc:spChg chg="add del mod modVis">
          <ac:chgData name="Ugo MANTEL" userId="2d5b7065-31bb-4181-a7f8-a73bf0c30211" providerId="ADAL" clId="{2A660E2D-CD4C-439C-955B-BDD952B126F0}" dt="2021-03-08T10:15:52.301" v="26047"/>
          <ac:spMkLst>
            <pc:docMk/>
            <pc:sldMk cId="1868022673" sldId="7334"/>
            <ac:spMk id="54" creationId="{FC39523B-D09F-4404-B608-25855B0604CC}"/>
          </ac:spMkLst>
        </pc:spChg>
        <pc:spChg chg="add del mod modVis">
          <ac:chgData name="Ugo MANTEL" userId="2d5b7065-31bb-4181-a7f8-a73bf0c30211" providerId="ADAL" clId="{2A660E2D-CD4C-439C-955B-BDD952B126F0}" dt="2021-03-08T10:16:06.875" v="26129"/>
          <ac:spMkLst>
            <pc:docMk/>
            <pc:sldMk cId="1868022673" sldId="7334"/>
            <ac:spMk id="55" creationId="{63015095-2690-4A0D-93DD-5A315B2EFA12}"/>
          </ac:spMkLst>
        </pc:spChg>
        <pc:spChg chg="add del mod ord modVis">
          <ac:chgData name="Ugo MANTEL" userId="2d5b7065-31bb-4181-a7f8-a73bf0c30211" providerId="ADAL" clId="{2A660E2D-CD4C-439C-955B-BDD952B126F0}" dt="2021-03-08T10:00:27.593" v="12060"/>
          <ac:spMkLst>
            <pc:docMk/>
            <pc:sldMk cId="1868022673" sldId="7334"/>
            <ac:spMk id="55" creationId="{B2C9E9C4-EEA8-4491-951C-859725A589F3}"/>
          </ac:spMkLst>
        </pc:spChg>
        <pc:spChg chg="add del mod ord modVis">
          <ac:chgData name="Ugo MANTEL" userId="2d5b7065-31bb-4181-a7f8-a73bf0c30211" providerId="ADAL" clId="{2A660E2D-CD4C-439C-955B-BDD952B126F0}" dt="2021-03-08T10:00:31.251" v="12507"/>
          <ac:spMkLst>
            <pc:docMk/>
            <pc:sldMk cId="1868022673" sldId="7334"/>
            <ac:spMk id="57" creationId="{41516C9A-0D8B-47CE-8B4F-68AAC9202F2A}"/>
          </ac:spMkLst>
        </pc:spChg>
        <pc:spChg chg="add del mod ord modVis">
          <ac:chgData name="Ugo MANTEL" userId="2d5b7065-31bb-4181-a7f8-a73bf0c30211" providerId="ADAL" clId="{2A660E2D-CD4C-439C-955B-BDD952B126F0}" dt="2021-03-08T10:00:37.154" v="12940"/>
          <ac:spMkLst>
            <pc:docMk/>
            <pc:sldMk cId="1868022673" sldId="7334"/>
            <ac:spMk id="58" creationId="{9B6244EE-6850-4F28-9482-43598B4E1BBB}"/>
          </ac:spMkLst>
        </pc:spChg>
        <pc:spChg chg="mod">
          <ac:chgData name="Ugo MANTEL" userId="2d5b7065-31bb-4181-a7f8-a73bf0c30211" providerId="ADAL" clId="{2A660E2D-CD4C-439C-955B-BDD952B126F0}" dt="2021-03-08T13:55:03.978" v="31118"/>
          <ac:spMkLst>
            <pc:docMk/>
            <pc:sldMk cId="1868022673" sldId="7334"/>
            <ac:spMk id="60" creationId="{079A3004-8B10-4A8B-A55B-01C30D9ACF73}"/>
          </ac:spMkLst>
        </pc:spChg>
        <pc:spChg chg="mod">
          <ac:chgData name="Ugo MANTEL" userId="2d5b7065-31bb-4181-a7f8-a73bf0c30211" providerId="ADAL" clId="{2A660E2D-CD4C-439C-955B-BDD952B126F0}" dt="2021-03-08T13:55:03.989" v="31134"/>
          <ac:spMkLst>
            <pc:docMk/>
            <pc:sldMk cId="1868022673" sldId="7334"/>
            <ac:spMk id="61" creationId="{6A5F3BD4-D574-47FE-9569-2BFBE78A5DE9}"/>
          </ac:spMkLst>
        </pc:spChg>
        <pc:spChg chg="add del mod ord modVis">
          <ac:chgData name="Ugo MANTEL" userId="2d5b7065-31bb-4181-a7f8-a73bf0c30211" providerId="ADAL" clId="{2A660E2D-CD4C-439C-955B-BDD952B126F0}" dt="2021-03-08T10:01:00.600" v="13414"/>
          <ac:spMkLst>
            <pc:docMk/>
            <pc:sldMk cId="1868022673" sldId="7334"/>
            <ac:spMk id="62" creationId="{E8F39D40-E8A1-437A-B224-5C78BE3F4D02}"/>
          </ac:spMkLst>
        </pc:spChg>
        <pc:spChg chg="add mod">
          <ac:chgData name="Ugo MANTEL" userId="2d5b7065-31bb-4181-a7f8-a73bf0c30211" providerId="ADAL" clId="{2A660E2D-CD4C-439C-955B-BDD952B126F0}" dt="2021-03-08T13:55:03.974" v="31112"/>
          <ac:spMkLst>
            <pc:docMk/>
            <pc:sldMk cId="1868022673" sldId="7334"/>
            <ac:spMk id="63" creationId="{68AC4ADD-C371-4A3B-999B-6DB64BDD71F7}"/>
          </ac:spMkLst>
        </pc:spChg>
        <pc:spChg chg="add del mod ord modVis">
          <ac:chgData name="Ugo MANTEL" userId="2d5b7065-31bb-4181-a7f8-a73bf0c30211" providerId="ADAL" clId="{2A660E2D-CD4C-439C-955B-BDD952B126F0}" dt="2021-03-08T10:01:32.446" v="14025"/>
          <ac:spMkLst>
            <pc:docMk/>
            <pc:sldMk cId="1868022673" sldId="7334"/>
            <ac:spMk id="64" creationId="{C7A314C5-D3C2-42B8-9DB6-E88AE1D0A201}"/>
          </ac:spMkLst>
        </pc:spChg>
        <pc:spChg chg="add del mod ord modVis">
          <ac:chgData name="Ugo MANTEL" userId="2d5b7065-31bb-4181-a7f8-a73bf0c30211" providerId="ADAL" clId="{2A660E2D-CD4C-439C-955B-BDD952B126F0}" dt="2021-03-08T10:01:48.950" v="14739"/>
          <ac:spMkLst>
            <pc:docMk/>
            <pc:sldMk cId="1868022673" sldId="7334"/>
            <ac:spMk id="65" creationId="{E795399F-8546-4D75-A45D-C43D90FE44C4}"/>
          </ac:spMkLst>
        </pc:spChg>
        <pc:spChg chg="add del mod">
          <ac:chgData name="Ugo MANTEL" userId="2d5b7065-31bb-4181-a7f8-a73bf0c30211" providerId="ADAL" clId="{2A660E2D-CD4C-439C-955B-BDD952B126F0}" dt="2021-03-08T10:03:47.601" v="18027"/>
          <ac:spMkLst>
            <pc:docMk/>
            <pc:sldMk cId="1868022673" sldId="7334"/>
            <ac:spMk id="79" creationId="{F6956796-BF9D-4D9E-841D-FECA86A40174}"/>
          </ac:spMkLst>
        </pc:spChg>
        <pc:spChg chg="add del mod">
          <ac:chgData name="Ugo MANTEL" userId="2d5b7065-31bb-4181-a7f8-a73bf0c30211" providerId="ADAL" clId="{2A660E2D-CD4C-439C-955B-BDD952B126F0}" dt="2021-03-08T10:03:47.423" v="17954"/>
          <ac:spMkLst>
            <pc:docMk/>
            <pc:sldMk cId="1868022673" sldId="7334"/>
            <ac:spMk id="80" creationId="{C5130DB0-2AC9-4F6E-9E5A-0F74CEF3C4A7}"/>
          </ac:spMkLst>
        </pc:spChg>
        <pc:spChg chg="add del mod">
          <ac:chgData name="Ugo MANTEL" userId="2d5b7065-31bb-4181-a7f8-a73bf0c30211" providerId="ADAL" clId="{2A660E2D-CD4C-439C-955B-BDD952B126F0}" dt="2021-03-08T10:03:41.830" v="17522"/>
          <ac:spMkLst>
            <pc:docMk/>
            <pc:sldMk cId="1868022673" sldId="7334"/>
            <ac:spMk id="81" creationId="{87D1B60C-77DB-46C4-8841-B101E8F11161}"/>
          </ac:spMkLst>
        </pc:spChg>
        <pc:spChg chg="add del mod ord">
          <ac:chgData name="Ugo MANTEL" userId="2d5b7065-31bb-4181-a7f8-a73bf0c30211" providerId="ADAL" clId="{2A660E2D-CD4C-439C-955B-BDD952B126F0}" dt="2021-03-08T10:03:41.795" v="17504"/>
          <ac:spMkLst>
            <pc:docMk/>
            <pc:sldMk cId="1868022673" sldId="7334"/>
            <ac:spMk id="82" creationId="{F2623588-3104-41DE-A124-FC876E4FDEDF}"/>
          </ac:spMkLst>
        </pc:spChg>
        <pc:spChg chg="add del mod ord">
          <ac:chgData name="Ugo MANTEL" userId="2d5b7065-31bb-4181-a7f8-a73bf0c30211" providerId="ADAL" clId="{2A660E2D-CD4C-439C-955B-BDD952B126F0}" dt="2021-03-08T10:03:41.774" v="17487"/>
          <ac:spMkLst>
            <pc:docMk/>
            <pc:sldMk cId="1868022673" sldId="7334"/>
            <ac:spMk id="83" creationId="{A6BD25C0-AD9A-438B-BA46-54FB9A9F1C26}"/>
          </ac:spMkLst>
        </pc:spChg>
        <pc:spChg chg="add del mod">
          <ac:chgData name="Ugo MANTEL" userId="2d5b7065-31bb-4181-a7f8-a73bf0c30211" providerId="ADAL" clId="{2A660E2D-CD4C-439C-955B-BDD952B126F0}" dt="2021-03-08T10:03:47.601" v="18028"/>
          <ac:spMkLst>
            <pc:docMk/>
            <pc:sldMk cId="1868022673" sldId="7334"/>
            <ac:spMk id="84" creationId="{021838EF-56C4-4015-B676-1B5D23BC860D}"/>
          </ac:spMkLst>
        </pc:spChg>
        <pc:spChg chg="add del mod">
          <ac:chgData name="Ugo MANTEL" userId="2d5b7065-31bb-4181-a7f8-a73bf0c30211" providerId="ADAL" clId="{2A660E2D-CD4C-439C-955B-BDD952B126F0}" dt="2021-03-08T10:03:47.423" v="17955"/>
          <ac:spMkLst>
            <pc:docMk/>
            <pc:sldMk cId="1868022673" sldId="7334"/>
            <ac:spMk id="85" creationId="{722149B3-F51E-47E5-B650-B5F6CD246DB6}"/>
          </ac:spMkLst>
        </pc:spChg>
        <pc:spChg chg="add del mod ord">
          <ac:chgData name="Ugo MANTEL" userId="2d5b7065-31bb-4181-a7f8-a73bf0c30211" providerId="ADAL" clId="{2A660E2D-CD4C-439C-955B-BDD952B126F0}" dt="2021-03-08T10:03:41.830" v="17524"/>
          <ac:spMkLst>
            <pc:docMk/>
            <pc:sldMk cId="1868022673" sldId="7334"/>
            <ac:spMk id="86" creationId="{F5669837-4C4E-420A-8900-547544B41A85}"/>
          </ac:spMkLst>
        </pc:spChg>
        <pc:spChg chg="add del mod ord">
          <ac:chgData name="Ugo MANTEL" userId="2d5b7065-31bb-4181-a7f8-a73bf0c30211" providerId="ADAL" clId="{2A660E2D-CD4C-439C-955B-BDD952B126F0}" dt="2021-03-08T10:03:41.795" v="17506"/>
          <ac:spMkLst>
            <pc:docMk/>
            <pc:sldMk cId="1868022673" sldId="7334"/>
            <ac:spMk id="87" creationId="{48101D7F-B6F1-45E2-ADFE-30791428E8D0}"/>
          </ac:spMkLst>
        </pc:spChg>
        <pc:spChg chg="add del mod">
          <ac:chgData name="Ugo MANTEL" userId="2d5b7065-31bb-4181-a7f8-a73bf0c30211" providerId="ADAL" clId="{2A660E2D-CD4C-439C-955B-BDD952B126F0}" dt="2021-03-08T10:03:41.774" v="17490"/>
          <ac:spMkLst>
            <pc:docMk/>
            <pc:sldMk cId="1868022673" sldId="7334"/>
            <ac:spMk id="88" creationId="{53060E5A-2193-4392-B43E-1AEA8E75836A}"/>
          </ac:spMkLst>
        </pc:spChg>
        <pc:spChg chg="add del mod">
          <ac:chgData name="Ugo MANTEL" userId="2d5b7065-31bb-4181-a7f8-a73bf0c30211" providerId="ADAL" clId="{2A660E2D-CD4C-439C-955B-BDD952B126F0}" dt="2021-03-08T10:03:47.601" v="18029"/>
          <ac:spMkLst>
            <pc:docMk/>
            <pc:sldMk cId="1868022673" sldId="7334"/>
            <ac:spMk id="89" creationId="{11412AF8-CA52-4519-8231-C6A7B9BBFC5F}"/>
          </ac:spMkLst>
        </pc:spChg>
        <pc:spChg chg="add del mod">
          <ac:chgData name="Ugo MANTEL" userId="2d5b7065-31bb-4181-a7f8-a73bf0c30211" providerId="ADAL" clId="{2A660E2D-CD4C-439C-955B-BDD952B126F0}" dt="2021-03-08T10:03:47.423" v="17956"/>
          <ac:spMkLst>
            <pc:docMk/>
            <pc:sldMk cId="1868022673" sldId="7334"/>
            <ac:spMk id="90" creationId="{9C602077-DDED-4F4C-8772-428AE3CC47BF}"/>
          </ac:spMkLst>
        </pc:spChg>
        <pc:spChg chg="add del mod">
          <ac:chgData name="Ugo MANTEL" userId="2d5b7065-31bb-4181-a7f8-a73bf0c30211" providerId="ADAL" clId="{2A660E2D-CD4C-439C-955B-BDD952B126F0}" dt="2021-03-08T10:03:41.830" v="17527"/>
          <ac:spMkLst>
            <pc:docMk/>
            <pc:sldMk cId="1868022673" sldId="7334"/>
            <ac:spMk id="91" creationId="{1FEE158C-9776-4FD8-9836-8F8105925872}"/>
          </ac:spMkLst>
        </pc:spChg>
        <pc:spChg chg="add del mod ord">
          <ac:chgData name="Ugo MANTEL" userId="2d5b7065-31bb-4181-a7f8-a73bf0c30211" providerId="ADAL" clId="{2A660E2D-CD4C-439C-955B-BDD952B126F0}" dt="2021-03-08T10:03:41.795" v="17508"/>
          <ac:spMkLst>
            <pc:docMk/>
            <pc:sldMk cId="1868022673" sldId="7334"/>
            <ac:spMk id="92" creationId="{FF56D3D0-208D-4A28-8A32-0DBF2FFDA8EF}"/>
          </ac:spMkLst>
        </pc:spChg>
        <pc:spChg chg="add del mod ord">
          <ac:chgData name="Ugo MANTEL" userId="2d5b7065-31bb-4181-a7f8-a73bf0c30211" providerId="ADAL" clId="{2A660E2D-CD4C-439C-955B-BDD952B126F0}" dt="2021-03-08T10:03:41.774" v="17492"/>
          <ac:spMkLst>
            <pc:docMk/>
            <pc:sldMk cId="1868022673" sldId="7334"/>
            <ac:spMk id="93" creationId="{27502FE6-A1BA-4E7F-9AA1-420E9A418EA3}"/>
          </ac:spMkLst>
        </pc:spChg>
        <pc:spChg chg="add del mod">
          <ac:chgData name="Ugo MANTEL" userId="2d5b7065-31bb-4181-a7f8-a73bf0c30211" providerId="ADAL" clId="{2A660E2D-CD4C-439C-955B-BDD952B126F0}" dt="2021-03-08T10:03:47.601" v="18030"/>
          <ac:spMkLst>
            <pc:docMk/>
            <pc:sldMk cId="1868022673" sldId="7334"/>
            <ac:spMk id="94" creationId="{638BCB7A-B8C9-4F44-AC2C-9736B9DC64A0}"/>
          </ac:spMkLst>
        </pc:spChg>
        <pc:spChg chg="add del mod ord">
          <ac:chgData name="Ugo MANTEL" userId="2d5b7065-31bb-4181-a7f8-a73bf0c30211" providerId="ADAL" clId="{2A660E2D-CD4C-439C-955B-BDD952B126F0}" dt="2021-03-08T10:03:47.423" v="17958"/>
          <ac:spMkLst>
            <pc:docMk/>
            <pc:sldMk cId="1868022673" sldId="7334"/>
            <ac:spMk id="95" creationId="{F5F6BC78-4501-4594-8857-3B0C9C7AD9DE}"/>
          </ac:spMkLst>
        </pc:spChg>
        <pc:spChg chg="add del mod">
          <ac:chgData name="Ugo MANTEL" userId="2d5b7065-31bb-4181-a7f8-a73bf0c30211" providerId="ADAL" clId="{2A660E2D-CD4C-439C-955B-BDD952B126F0}" dt="2021-03-08T10:03:41.830" v="17530"/>
          <ac:spMkLst>
            <pc:docMk/>
            <pc:sldMk cId="1868022673" sldId="7334"/>
            <ac:spMk id="96" creationId="{09AE1B99-A39B-4FAC-8BB5-E1237B265147}"/>
          </ac:spMkLst>
        </pc:spChg>
        <pc:spChg chg="add del mod">
          <ac:chgData name="Ugo MANTEL" userId="2d5b7065-31bb-4181-a7f8-a73bf0c30211" providerId="ADAL" clId="{2A660E2D-CD4C-439C-955B-BDD952B126F0}" dt="2021-03-08T14:58:30.483" v="35996" actId="478"/>
          <ac:spMkLst>
            <pc:docMk/>
            <pc:sldMk cId="1868022673" sldId="7334"/>
            <ac:spMk id="97" creationId="{515FC237-5E3A-4904-94D7-34B47B869B58}"/>
          </ac:spMkLst>
        </pc:spChg>
        <pc:spChg chg="add del mod">
          <ac:chgData name="Ugo MANTEL" userId="2d5b7065-31bb-4181-a7f8-a73bf0c30211" providerId="ADAL" clId="{2A660E2D-CD4C-439C-955B-BDD952B126F0}" dt="2021-03-08T10:03:41.813" v="17511"/>
          <ac:spMkLst>
            <pc:docMk/>
            <pc:sldMk cId="1868022673" sldId="7334"/>
            <ac:spMk id="97" creationId="{909E6F11-9D9C-4EE4-866E-E0DD41561F8B}"/>
          </ac:spMkLst>
        </pc:spChg>
        <pc:spChg chg="add del mod">
          <ac:chgData name="Ugo MANTEL" userId="2d5b7065-31bb-4181-a7f8-a73bf0c30211" providerId="ADAL" clId="{2A660E2D-CD4C-439C-955B-BDD952B126F0}" dt="2021-03-08T14:59:26.612" v="36026" actId="20577"/>
          <ac:spMkLst>
            <pc:docMk/>
            <pc:sldMk cId="1868022673" sldId="7334"/>
            <ac:spMk id="98" creationId="{53C9026C-2EAB-4C87-8A63-E3961AE33A05}"/>
          </ac:spMkLst>
        </pc:spChg>
        <pc:spChg chg="add del mod ord">
          <ac:chgData name="Ugo MANTEL" userId="2d5b7065-31bb-4181-a7f8-a73bf0c30211" providerId="ADAL" clId="{2A660E2D-CD4C-439C-955B-BDD952B126F0}" dt="2021-03-08T10:03:41.774" v="17494"/>
          <ac:spMkLst>
            <pc:docMk/>
            <pc:sldMk cId="1868022673" sldId="7334"/>
            <ac:spMk id="98" creationId="{82B63967-8745-4609-A9ED-BC157318D8E5}"/>
          </ac:spMkLst>
        </pc:spChg>
        <pc:spChg chg="add del mod ord">
          <ac:chgData name="Ugo MANTEL" userId="2d5b7065-31bb-4181-a7f8-a73bf0c30211" providerId="ADAL" clId="{2A660E2D-CD4C-439C-955B-BDD952B126F0}" dt="2021-03-08T10:03:47.429" v="17960"/>
          <ac:spMkLst>
            <pc:docMk/>
            <pc:sldMk cId="1868022673" sldId="7334"/>
            <ac:spMk id="99" creationId="{684DBC11-A8B7-421E-8D8E-9598089155DD}"/>
          </ac:spMkLst>
        </pc:spChg>
        <pc:spChg chg="add del mod ord">
          <ac:chgData name="Ugo MANTEL" userId="2d5b7065-31bb-4181-a7f8-a73bf0c30211" providerId="ADAL" clId="{2A660E2D-CD4C-439C-955B-BDD952B126F0}" dt="2021-03-08T10:03:41.830" v="17532"/>
          <ac:spMkLst>
            <pc:docMk/>
            <pc:sldMk cId="1868022673" sldId="7334"/>
            <ac:spMk id="100" creationId="{01853334-B8C2-4549-909A-275F56F85E1C}"/>
          </ac:spMkLst>
        </pc:spChg>
        <pc:spChg chg="add del mod">
          <ac:chgData name="Ugo MANTEL" userId="2d5b7065-31bb-4181-a7f8-a73bf0c30211" providerId="ADAL" clId="{2A660E2D-CD4C-439C-955B-BDD952B126F0}" dt="2021-03-08T10:03:41.814" v="17514"/>
          <ac:spMkLst>
            <pc:docMk/>
            <pc:sldMk cId="1868022673" sldId="7334"/>
            <ac:spMk id="102" creationId="{45F6CC12-7D7B-4C2A-BAB4-0C3902E89907}"/>
          </ac:spMkLst>
        </pc:spChg>
        <pc:spChg chg="add del mod">
          <ac:chgData name="Ugo MANTEL" userId="2d5b7065-31bb-4181-a7f8-a73bf0c30211" providerId="ADAL" clId="{2A660E2D-CD4C-439C-955B-BDD952B126F0}" dt="2021-03-08T10:01:00.218" v="13058"/>
          <ac:spMkLst>
            <pc:docMk/>
            <pc:sldMk cId="1868022673" sldId="7334"/>
            <ac:spMk id="102" creationId="{7D1DDC04-F723-44C5-A099-D5549934F595}"/>
          </ac:spMkLst>
        </pc:spChg>
        <pc:spChg chg="add del mod">
          <ac:chgData name="Ugo MANTEL" userId="2d5b7065-31bb-4181-a7f8-a73bf0c30211" providerId="ADAL" clId="{2A660E2D-CD4C-439C-955B-BDD952B126F0}" dt="2021-03-08T10:01:00.033" v="12983"/>
          <ac:spMkLst>
            <pc:docMk/>
            <pc:sldMk cId="1868022673" sldId="7334"/>
            <ac:spMk id="103" creationId="{6DBF7A35-CD01-4CC5-A943-3BC6F924A0EE}"/>
          </ac:spMkLst>
        </pc:spChg>
        <pc:spChg chg="add del mod">
          <ac:chgData name="Ugo MANTEL" userId="2d5b7065-31bb-4181-a7f8-a73bf0c30211" providerId="ADAL" clId="{2A660E2D-CD4C-439C-955B-BDD952B126F0}" dt="2021-03-08T10:03:41.791" v="17497"/>
          <ac:spMkLst>
            <pc:docMk/>
            <pc:sldMk cId="1868022673" sldId="7334"/>
            <ac:spMk id="103" creationId="{C5D10F16-1B9E-4B05-AFC0-5BC6C65CF7B9}"/>
          </ac:spMkLst>
        </pc:spChg>
        <pc:spChg chg="add del mod">
          <ac:chgData name="Ugo MANTEL" userId="2d5b7065-31bb-4181-a7f8-a73bf0c30211" providerId="ADAL" clId="{2A660E2D-CD4C-439C-955B-BDD952B126F0}" dt="2021-03-08T10:01:00.016" v="12972"/>
          <ac:spMkLst>
            <pc:docMk/>
            <pc:sldMk cId="1868022673" sldId="7334"/>
            <ac:spMk id="104" creationId="{DAD1FB22-24D7-4627-BDDA-FE2AE035ECA1}"/>
          </ac:spMkLst>
        </pc:spChg>
        <pc:spChg chg="add del mod ord">
          <ac:chgData name="Ugo MANTEL" userId="2d5b7065-31bb-4181-a7f8-a73bf0c30211" providerId="ADAL" clId="{2A660E2D-CD4C-439C-955B-BDD952B126F0}" dt="2021-03-08T10:01:00.016" v="12959"/>
          <ac:spMkLst>
            <pc:docMk/>
            <pc:sldMk cId="1868022673" sldId="7334"/>
            <ac:spMk id="105" creationId="{B577B0DB-FE65-4A54-B96D-9480112A6E83}"/>
          </ac:spMkLst>
        </pc:spChg>
        <pc:spChg chg="add del mod ord">
          <ac:chgData name="Ugo MANTEL" userId="2d5b7065-31bb-4181-a7f8-a73bf0c30211" providerId="ADAL" clId="{2A660E2D-CD4C-439C-955B-BDD952B126F0}" dt="2021-03-08T10:01:00.002" v="12947"/>
          <ac:spMkLst>
            <pc:docMk/>
            <pc:sldMk cId="1868022673" sldId="7334"/>
            <ac:spMk id="106" creationId="{8EA72AF2-6398-46B6-ABED-73F1DCC733F4}"/>
          </ac:spMkLst>
        </pc:spChg>
        <pc:spChg chg="add del mod">
          <ac:chgData name="Ugo MANTEL" userId="2d5b7065-31bb-4181-a7f8-a73bf0c30211" providerId="ADAL" clId="{2A660E2D-CD4C-439C-955B-BDD952B126F0}" dt="2021-03-08T10:01:00.218" v="13059"/>
          <ac:spMkLst>
            <pc:docMk/>
            <pc:sldMk cId="1868022673" sldId="7334"/>
            <ac:spMk id="108" creationId="{44179661-4649-45D7-BA6A-B1500BA91C71}"/>
          </ac:spMkLst>
        </pc:spChg>
        <pc:spChg chg="add del mod">
          <ac:chgData name="Ugo MANTEL" userId="2d5b7065-31bb-4181-a7f8-a73bf0c30211" providerId="ADAL" clId="{2A660E2D-CD4C-439C-955B-BDD952B126F0}" dt="2021-03-08T10:01:00.033" v="12984"/>
          <ac:spMkLst>
            <pc:docMk/>
            <pc:sldMk cId="1868022673" sldId="7334"/>
            <ac:spMk id="109" creationId="{9E55AD83-99E1-4393-8E91-96EE8E48EE4B}"/>
          </ac:spMkLst>
        </pc:spChg>
        <pc:spChg chg="add del mod ord">
          <ac:chgData name="Ugo MANTEL" userId="2d5b7065-31bb-4181-a7f8-a73bf0c30211" providerId="ADAL" clId="{2A660E2D-CD4C-439C-955B-BDD952B126F0}" dt="2021-03-08T10:01:00.016" v="12974"/>
          <ac:spMkLst>
            <pc:docMk/>
            <pc:sldMk cId="1868022673" sldId="7334"/>
            <ac:spMk id="110" creationId="{E0604617-07EB-4A71-845E-1FFB08D31168}"/>
          </ac:spMkLst>
        </pc:spChg>
        <pc:spChg chg="add del mod ord">
          <ac:chgData name="Ugo MANTEL" userId="2d5b7065-31bb-4181-a7f8-a73bf0c30211" providerId="ADAL" clId="{2A660E2D-CD4C-439C-955B-BDD952B126F0}" dt="2021-03-08T10:01:00.016" v="12961"/>
          <ac:spMkLst>
            <pc:docMk/>
            <pc:sldMk cId="1868022673" sldId="7334"/>
            <ac:spMk id="111" creationId="{FF6ED450-D614-475E-8915-90CD861CE9B0}"/>
          </ac:spMkLst>
        </pc:spChg>
        <pc:spChg chg="add del mod">
          <ac:chgData name="Ugo MANTEL" userId="2d5b7065-31bb-4181-a7f8-a73bf0c30211" providerId="ADAL" clId="{2A660E2D-CD4C-439C-955B-BDD952B126F0}" dt="2021-03-08T10:01:00.010" v="12950"/>
          <ac:spMkLst>
            <pc:docMk/>
            <pc:sldMk cId="1868022673" sldId="7334"/>
            <ac:spMk id="112" creationId="{D38D8507-4E4E-4E83-8C72-28FED7725585}"/>
          </ac:spMkLst>
        </pc:spChg>
        <pc:spChg chg="add del mod">
          <ac:chgData name="Ugo MANTEL" userId="2d5b7065-31bb-4181-a7f8-a73bf0c30211" providerId="ADAL" clId="{2A660E2D-CD4C-439C-955B-BDD952B126F0}" dt="2021-03-08T10:01:00.218" v="13060"/>
          <ac:spMkLst>
            <pc:docMk/>
            <pc:sldMk cId="1868022673" sldId="7334"/>
            <ac:spMk id="113" creationId="{ECD5D66B-E640-407F-B86F-CFB9895ADB13}"/>
          </ac:spMkLst>
        </pc:spChg>
        <pc:spChg chg="add del mod">
          <ac:chgData name="Ugo MANTEL" userId="2d5b7065-31bb-4181-a7f8-a73bf0c30211" providerId="ADAL" clId="{2A660E2D-CD4C-439C-955B-BDD952B126F0}" dt="2021-03-08T10:01:00.033" v="12985"/>
          <ac:spMkLst>
            <pc:docMk/>
            <pc:sldMk cId="1868022673" sldId="7334"/>
            <ac:spMk id="114" creationId="{C5E41183-D67F-4C64-B0F9-020C7311BA85}"/>
          </ac:spMkLst>
        </pc:spChg>
        <pc:spChg chg="add del mod">
          <ac:chgData name="Ugo MANTEL" userId="2d5b7065-31bb-4181-a7f8-a73bf0c30211" providerId="ADAL" clId="{2A660E2D-CD4C-439C-955B-BDD952B126F0}" dt="2021-03-08T10:01:00.016" v="12977"/>
          <ac:spMkLst>
            <pc:docMk/>
            <pc:sldMk cId="1868022673" sldId="7334"/>
            <ac:spMk id="115" creationId="{37702137-2827-4BDD-8F65-F0B4AE29A380}"/>
          </ac:spMkLst>
        </pc:spChg>
        <pc:spChg chg="add del mod ord">
          <ac:chgData name="Ugo MANTEL" userId="2d5b7065-31bb-4181-a7f8-a73bf0c30211" providerId="ADAL" clId="{2A660E2D-CD4C-439C-955B-BDD952B126F0}" dt="2021-03-08T10:01:00.016" v="12963"/>
          <ac:spMkLst>
            <pc:docMk/>
            <pc:sldMk cId="1868022673" sldId="7334"/>
            <ac:spMk id="116" creationId="{8A108688-A58C-4B27-9529-574C66059667}"/>
          </ac:spMkLst>
        </pc:spChg>
        <pc:spChg chg="add del mod ord">
          <ac:chgData name="Ugo MANTEL" userId="2d5b7065-31bb-4181-a7f8-a73bf0c30211" providerId="ADAL" clId="{2A660E2D-CD4C-439C-955B-BDD952B126F0}" dt="2021-03-08T10:01:00.011" v="12952"/>
          <ac:spMkLst>
            <pc:docMk/>
            <pc:sldMk cId="1868022673" sldId="7334"/>
            <ac:spMk id="117" creationId="{0BCA1F7A-6F48-41D4-8379-D008F8D706F1}"/>
          </ac:spMkLst>
        </pc:spChg>
        <pc:spChg chg="add del mod">
          <ac:chgData name="Ugo MANTEL" userId="2d5b7065-31bb-4181-a7f8-a73bf0c30211" providerId="ADAL" clId="{2A660E2D-CD4C-439C-955B-BDD952B126F0}" dt="2021-03-08T10:01:00.218" v="13061"/>
          <ac:spMkLst>
            <pc:docMk/>
            <pc:sldMk cId="1868022673" sldId="7334"/>
            <ac:spMk id="118" creationId="{8DB1D1EF-192F-48DC-8F0A-75F694076E67}"/>
          </ac:spMkLst>
        </pc:spChg>
        <pc:spChg chg="add del mod">
          <ac:chgData name="Ugo MANTEL" userId="2d5b7065-31bb-4181-a7f8-a73bf0c30211" providerId="ADAL" clId="{2A660E2D-CD4C-439C-955B-BDD952B126F0}" dt="2021-03-08T10:01:00.033" v="12988"/>
          <ac:spMkLst>
            <pc:docMk/>
            <pc:sldMk cId="1868022673" sldId="7334"/>
            <ac:spMk id="119" creationId="{2F5DC0A9-310D-4A41-B06B-351ED3B0A372}"/>
          </ac:spMkLst>
        </pc:spChg>
        <pc:spChg chg="add del mod ord">
          <ac:chgData name="Ugo MANTEL" userId="2d5b7065-31bb-4181-a7f8-a73bf0c30211" providerId="ADAL" clId="{2A660E2D-CD4C-439C-955B-BDD952B126F0}" dt="2021-03-08T10:01:00.033" v="12980"/>
          <ac:spMkLst>
            <pc:docMk/>
            <pc:sldMk cId="1868022673" sldId="7334"/>
            <ac:spMk id="120" creationId="{4E27AECD-06DE-4D6C-8328-0A2238AC3600}"/>
          </ac:spMkLst>
        </pc:spChg>
        <pc:spChg chg="add del mod">
          <ac:chgData name="Ugo MANTEL" userId="2d5b7065-31bb-4181-a7f8-a73bf0c30211" providerId="ADAL" clId="{2A660E2D-CD4C-439C-955B-BDD952B126F0}" dt="2021-03-08T10:01:00.016" v="12966"/>
          <ac:spMkLst>
            <pc:docMk/>
            <pc:sldMk cId="1868022673" sldId="7334"/>
            <ac:spMk id="121" creationId="{C1F9E391-933C-473F-B91D-E822B37DF07B}"/>
          </ac:spMkLst>
        </pc:spChg>
        <pc:spChg chg="add del mod ord">
          <ac:chgData name="Ugo MANTEL" userId="2d5b7065-31bb-4181-a7f8-a73bf0c30211" providerId="ADAL" clId="{2A660E2D-CD4C-439C-955B-BDD952B126F0}" dt="2021-03-08T10:01:00.011" v="12954"/>
          <ac:spMkLst>
            <pc:docMk/>
            <pc:sldMk cId="1868022673" sldId="7334"/>
            <ac:spMk id="122" creationId="{566693BD-A3BA-4956-8E7E-BD1C6E543C79}"/>
          </ac:spMkLst>
        </pc:spChg>
        <pc:spChg chg="add mod">
          <ac:chgData name="Ugo MANTEL" userId="2d5b7065-31bb-4181-a7f8-a73bf0c30211" providerId="ADAL" clId="{2A660E2D-CD4C-439C-955B-BDD952B126F0}" dt="2021-03-08T13:55:03.995" v="31142"/>
          <ac:spMkLst>
            <pc:docMk/>
            <pc:sldMk cId="1868022673" sldId="7334"/>
            <ac:spMk id="123" creationId="{D740F71A-BD85-4962-8597-EA9A65141D18}"/>
          </ac:spMkLst>
        </pc:spChg>
        <pc:spChg chg="add del mod ord">
          <ac:chgData name="Ugo MANTEL" userId="2d5b7065-31bb-4181-a7f8-a73bf0c30211" providerId="ADAL" clId="{2A660E2D-CD4C-439C-955B-BDD952B126F0}" dt="2021-03-08T10:01:00.033" v="12991"/>
          <ac:spMkLst>
            <pc:docMk/>
            <pc:sldMk cId="1868022673" sldId="7334"/>
            <ac:spMk id="124" creationId="{5FBD6A0E-FBF5-48C8-AEC0-6A9F075C1B26}"/>
          </ac:spMkLst>
        </pc:spChg>
        <pc:spChg chg="add del mod ord">
          <ac:chgData name="Ugo MANTEL" userId="2d5b7065-31bb-4181-a7f8-a73bf0c30211" providerId="ADAL" clId="{2A660E2D-CD4C-439C-955B-BDD952B126F0}" dt="2021-03-08T10:01:00.033" v="12982"/>
          <ac:spMkLst>
            <pc:docMk/>
            <pc:sldMk cId="1868022673" sldId="7334"/>
            <ac:spMk id="125" creationId="{53A11E8F-5F5C-4822-ACDC-7675833C13FF}"/>
          </ac:spMkLst>
        </pc:spChg>
        <pc:spChg chg="add del mod">
          <ac:chgData name="Ugo MANTEL" userId="2d5b7065-31bb-4181-a7f8-a73bf0c30211" providerId="ADAL" clId="{2A660E2D-CD4C-439C-955B-BDD952B126F0}" dt="2021-03-08T10:01:00.016" v="12969"/>
          <ac:spMkLst>
            <pc:docMk/>
            <pc:sldMk cId="1868022673" sldId="7334"/>
            <ac:spMk id="126" creationId="{59FB5C3A-CDD3-46E8-91AE-1399C7A11FE8}"/>
          </ac:spMkLst>
        </pc:spChg>
        <pc:spChg chg="add del mod">
          <ac:chgData name="Ugo MANTEL" userId="2d5b7065-31bb-4181-a7f8-a73bf0c30211" providerId="ADAL" clId="{2A660E2D-CD4C-439C-955B-BDD952B126F0}" dt="2021-03-08T10:01:00.016" v="12957"/>
          <ac:spMkLst>
            <pc:docMk/>
            <pc:sldMk cId="1868022673" sldId="7334"/>
            <ac:spMk id="127" creationId="{3C84AF99-B6E6-4D3E-AC05-D07D6A48C3F7}"/>
          </ac:spMkLst>
        </pc:spChg>
        <pc:spChg chg="add mod ord">
          <ac:chgData name="Ugo MANTEL" userId="2d5b7065-31bb-4181-a7f8-a73bf0c30211" providerId="ADAL" clId="{2A660E2D-CD4C-439C-955B-BDD952B126F0}" dt="2021-03-08T13:55:04.024" v="31204"/>
          <ac:spMkLst>
            <pc:docMk/>
            <pc:sldMk cId="1868022673" sldId="7334"/>
            <ac:spMk id="153" creationId="{3AF71D78-174F-4F63-BDFC-9DD9655B1404}"/>
          </ac:spMkLst>
        </pc:spChg>
        <pc:spChg chg="add mod ord">
          <ac:chgData name="Ugo MANTEL" userId="2d5b7065-31bb-4181-a7f8-a73bf0c30211" providerId="ADAL" clId="{2A660E2D-CD4C-439C-955B-BDD952B126F0}" dt="2021-03-08T13:55:04.026" v="31206"/>
          <ac:spMkLst>
            <pc:docMk/>
            <pc:sldMk cId="1868022673" sldId="7334"/>
            <ac:spMk id="154" creationId="{5502A205-B594-4A8A-ACDD-D5E9FCC4CFC6}"/>
          </ac:spMkLst>
        </pc:spChg>
        <pc:spChg chg="del mod ord">
          <ac:chgData name="Ugo MANTEL" userId="2d5b7065-31bb-4181-a7f8-a73bf0c30211" providerId="ADAL" clId="{2A660E2D-CD4C-439C-955B-BDD952B126F0}" dt="2021-03-08T10:01:32.547" v="14066"/>
          <ac:spMkLst>
            <pc:docMk/>
            <pc:sldMk cId="1868022673" sldId="7334"/>
            <ac:spMk id="155" creationId="{4A59B4EB-D46A-4E72-ABAA-534E7284D853}"/>
          </ac:spMkLst>
        </pc:spChg>
        <pc:spChg chg="add del mod ord">
          <ac:chgData name="Ugo MANTEL" userId="2d5b7065-31bb-4181-a7f8-a73bf0c30211" providerId="ADAL" clId="{2A660E2D-CD4C-439C-955B-BDD952B126F0}" dt="2021-03-08T13:57:05.286" v="31224" actId="478"/>
          <ac:spMkLst>
            <pc:docMk/>
            <pc:sldMk cId="1868022673" sldId="7334"/>
            <ac:spMk id="155" creationId="{8B116C82-AD89-434A-9F87-4F9690E46647}"/>
          </ac:spMkLst>
        </pc:spChg>
        <pc:spChg chg="add del mod ord">
          <ac:chgData name="Ugo MANTEL" userId="2d5b7065-31bb-4181-a7f8-a73bf0c30211" providerId="ADAL" clId="{2A660E2D-CD4C-439C-955B-BDD952B126F0}" dt="2021-03-08T13:57:08.392" v="31226" actId="478"/>
          <ac:spMkLst>
            <pc:docMk/>
            <pc:sldMk cId="1868022673" sldId="7334"/>
            <ac:spMk id="156" creationId="{AE8CDD28-FF05-4B7D-ABD8-806EF60A8D8F}"/>
          </ac:spMkLst>
        </pc:spChg>
        <pc:spChg chg="del mod">
          <ac:chgData name="Ugo MANTEL" userId="2d5b7065-31bb-4181-a7f8-a73bf0c30211" providerId="ADAL" clId="{2A660E2D-CD4C-439C-955B-BDD952B126F0}" dt="2021-03-08T10:01:32.547" v="14064"/>
          <ac:spMkLst>
            <pc:docMk/>
            <pc:sldMk cId="1868022673" sldId="7334"/>
            <ac:spMk id="156" creationId="{EF9D2E18-A2AD-4C17-809E-504AC2D56391}"/>
          </ac:spMkLst>
        </pc:spChg>
        <pc:spChg chg="del mod">
          <ac:chgData name="Ugo MANTEL" userId="2d5b7065-31bb-4181-a7f8-a73bf0c30211" providerId="ADAL" clId="{2A660E2D-CD4C-439C-955B-BDD952B126F0}" dt="2021-03-08T10:01:32.547" v="14073"/>
          <ac:spMkLst>
            <pc:docMk/>
            <pc:sldMk cId="1868022673" sldId="7334"/>
            <ac:spMk id="157" creationId="{58F20243-8FEE-4E74-91FE-CA462C21C1CD}"/>
          </ac:spMkLst>
        </pc:spChg>
        <pc:spChg chg="del mod ord">
          <ac:chgData name="Ugo MANTEL" userId="2d5b7065-31bb-4181-a7f8-a73bf0c30211" providerId="ADAL" clId="{2A660E2D-CD4C-439C-955B-BDD952B126F0}" dt="2021-03-08T10:01:32.547" v="14072"/>
          <ac:spMkLst>
            <pc:docMk/>
            <pc:sldMk cId="1868022673" sldId="7334"/>
            <ac:spMk id="158" creationId="{6FFBD836-76D6-4706-9391-961BBE0A2260}"/>
          </ac:spMkLst>
        </pc:spChg>
        <pc:spChg chg="del mod">
          <ac:chgData name="Ugo MANTEL" userId="2d5b7065-31bb-4181-a7f8-a73bf0c30211" providerId="ADAL" clId="{2A660E2D-CD4C-439C-955B-BDD952B126F0}" dt="2021-03-08T10:01:32.547" v="14069"/>
          <ac:spMkLst>
            <pc:docMk/>
            <pc:sldMk cId="1868022673" sldId="7334"/>
            <ac:spMk id="159" creationId="{226A7B05-7225-451C-ACC8-7044A2E4CEEC}"/>
          </ac:spMkLst>
        </pc:spChg>
        <pc:spChg chg="del mod">
          <ac:chgData name="Ugo MANTEL" userId="2d5b7065-31bb-4181-a7f8-a73bf0c30211" providerId="ADAL" clId="{2A660E2D-CD4C-439C-955B-BDD952B126F0}" dt="2021-03-08T10:01:32.547" v="14077"/>
          <ac:spMkLst>
            <pc:docMk/>
            <pc:sldMk cId="1868022673" sldId="7334"/>
            <ac:spMk id="160" creationId="{F63549C8-C607-4C75-957D-A04EDFB6037A}"/>
          </ac:spMkLst>
        </pc:spChg>
        <pc:spChg chg="del mod">
          <ac:chgData name="Ugo MANTEL" userId="2d5b7065-31bb-4181-a7f8-a73bf0c30211" providerId="ADAL" clId="{2A660E2D-CD4C-439C-955B-BDD952B126F0}" dt="2021-03-08T10:01:32.547" v="14070"/>
          <ac:spMkLst>
            <pc:docMk/>
            <pc:sldMk cId="1868022673" sldId="7334"/>
            <ac:spMk id="161" creationId="{5C66A23C-D266-4CAF-B9D5-1D29DB1EBAE4}"/>
          </ac:spMkLst>
        </pc:spChg>
        <pc:spChg chg="del mod ord">
          <ac:chgData name="Ugo MANTEL" userId="2d5b7065-31bb-4181-a7f8-a73bf0c30211" providerId="ADAL" clId="{2A660E2D-CD4C-439C-955B-BDD952B126F0}" dt="2021-03-08T10:01:32.532" v="14061"/>
          <ac:spMkLst>
            <pc:docMk/>
            <pc:sldMk cId="1868022673" sldId="7334"/>
            <ac:spMk id="162" creationId="{9749F131-8635-40E1-92E7-2788F9881D79}"/>
          </ac:spMkLst>
        </pc:spChg>
        <pc:spChg chg="del mod ord">
          <ac:chgData name="Ugo MANTEL" userId="2d5b7065-31bb-4181-a7f8-a73bf0c30211" providerId="ADAL" clId="{2A660E2D-CD4C-439C-955B-BDD952B126F0}" dt="2021-03-08T10:01:32.530" v="14041"/>
          <ac:spMkLst>
            <pc:docMk/>
            <pc:sldMk cId="1868022673" sldId="7334"/>
            <ac:spMk id="163" creationId="{81421543-A1B4-4FB6-9202-84E531EF28BB}"/>
          </ac:spMkLst>
        </pc:spChg>
        <pc:spChg chg="del mod ord">
          <ac:chgData name="Ugo MANTEL" userId="2d5b7065-31bb-4181-a7f8-a73bf0c30211" providerId="ADAL" clId="{2A660E2D-CD4C-439C-955B-BDD952B126F0}" dt="2021-03-08T10:01:32.532" v="14055"/>
          <ac:spMkLst>
            <pc:docMk/>
            <pc:sldMk cId="1868022673" sldId="7334"/>
            <ac:spMk id="164" creationId="{FB55E7CC-F607-4AC4-A954-640181C8A369}"/>
          </ac:spMkLst>
        </pc:spChg>
        <pc:spChg chg="del mod">
          <ac:chgData name="Ugo MANTEL" userId="2d5b7065-31bb-4181-a7f8-a73bf0c30211" providerId="ADAL" clId="{2A660E2D-CD4C-439C-955B-BDD952B126F0}" dt="2021-03-08T10:01:32.532" v="14045"/>
          <ac:spMkLst>
            <pc:docMk/>
            <pc:sldMk cId="1868022673" sldId="7334"/>
            <ac:spMk id="165" creationId="{1F80219A-9F4E-4821-BBF2-BD5CBA42A2BB}"/>
          </ac:spMkLst>
        </pc:spChg>
        <pc:spChg chg="add mod ord">
          <ac:chgData name="Ugo MANTEL" userId="2d5b7065-31bb-4181-a7f8-a73bf0c30211" providerId="ADAL" clId="{2A660E2D-CD4C-439C-955B-BDD952B126F0}" dt="2021-03-08T13:58:50.075" v="31235" actId="20577"/>
          <ac:spMkLst>
            <pc:docMk/>
            <pc:sldMk cId="1868022673" sldId="7334"/>
            <ac:spMk id="165" creationId="{A4CB902B-5C13-4C41-960F-F5E51949D349}"/>
          </ac:spMkLst>
        </pc:spChg>
        <pc:spChg chg="del mod">
          <ac:chgData name="Ugo MANTEL" userId="2d5b7065-31bb-4181-a7f8-a73bf0c30211" providerId="ADAL" clId="{2A660E2D-CD4C-439C-955B-BDD952B126F0}" dt="2021-03-08T10:01:32.532" v="14059"/>
          <ac:spMkLst>
            <pc:docMk/>
            <pc:sldMk cId="1868022673" sldId="7334"/>
            <ac:spMk id="166" creationId="{315C1A59-6188-4670-BD26-1526E5FC03D4}"/>
          </ac:spMkLst>
        </pc:spChg>
        <pc:spChg chg="del mod ord">
          <ac:chgData name="Ugo MANTEL" userId="2d5b7065-31bb-4181-a7f8-a73bf0c30211" providerId="ADAL" clId="{2A660E2D-CD4C-439C-955B-BDD952B126F0}" dt="2021-03-08T10:01:32.522" v="14031"/>
          <ac:spMkLst>
            <pc:docMk/>
            <pc:sldMk cId="1868022673" sldId="7334"/>
            <ac:spMk id="167" creationId="{8DC6E773-90F1-460C-B279-7E095CE2FE5E}"/>
          </ac:spMkLst>
        </pc:spChg>
        <pc:spChg chg="del mod ord">
          <ac:chgData name="Ugo MANTEL" userId="2d5b7065-31bb-4181-a7f8-a73bf0c30211" providerId="ADAL" clId="{2A660E2D-CD4C-439C-955B-BDD952B126F0}" dt="2021-03-08T10:01:32.532" v="14050"/>
          <ac:spMkLst>
            <pc:docMk/>
            <pc:sldMk cId="1868022673" sldId="7334"/>
            <ac:spMk id="168" creationId="{B12C8D30-D43E-4CCF-B60E-A62AA55500DA}"/>
          </ac:spMkLst>
        </pc:spChg>
        <pc:spChg chg="del mod">
          <ac:chgData name="Ugo MANTEL" userId="2d5b7065-31bb-4181-a7f8-a73bf0c30211" providerId="ADAL" clId="{2A660E2D-CD4C-439C-955B-BDD952B126F0}" dt="2021-03-08T10:01:32.532" v="14048"/>
          <ac:spMkLst>
            <pc:docMk/>
            <pc:sldMk cId="1868022673" sldId="7334"/>
            <ac:spMk id="169" creationId="{A7585CD4-1851-4C57-8433-BF5BD49A9D1E}"/>
          </ac:spMkLst>
        </pc:spChg>
        <pc:spChg chg="del mod ord">
          <ac:chgData name="Ugo MANTEL" userId="2d5b7065-31bb-4181-a7f8-a73bf0c30211" providerId="ADAL" clId="{2A660E2D-CD4C-439C-955B-BDD952B126F0}" dt="2021-03-08T10:01:32.522" v="14035"/>
          <ac:spMkLst>
            <pc:docMk/>
            <pc:sldMk cId="1868022673" sldId="7334"/>
            <ac:spMk id="170" creationId="{57704601-FDA1-429A-9535-A530A048E5E5}"/>
          </ac:spMkLst>
        </pc:spChg>
        <pc:spChg chg="del mod">
          <ac:chgData name="Ugo MANTEL" userId="2d5b7065-31bb-4181-a7f8-a73bf0c30211" providerId="ADAL" clId="{2A660E2D-CD4C-439C-955B-BDD952B126F0}" dt="2021-03-08T10:01:32.522" v="14033"/>
          <ac:spMkLst>
            <pc:docMk/>
            <pc:sldMk cId="1868022673" sldId="7334"/>
            <ac:spMk id="171" creationId="{63B0AE7D-BDAD-421B-869C-D24C4DB2D431}"/>
          </ac:spMkLst>
        </pc:spChg>
        <pc:spChg chg="del mod">
          <ac:chgData name="Ugo MANTEL" userId="2d5b7065-31bb-4181-a7f8-a73bf0c30211" providerId="ADAL" clId="{2A660E2D-CD4C-439C-955B-BDD952B126F0}" dt="2021-03-08T10:01:32.521" v="14029"/>
          <ac:spMkLst>
            <pc:docMk/>
            <pc:sldMk cId="1868022673" sldId="7334"/>
            <ac:spMk id="172" creationId="{73C150B7-E04D-41B3-BFDC-855CEFA54A06}"/>
          </ac:spMkLst>
        </pc:spChg>
        <pc:spChg chg="del mod">
          <ac:chgData name="Ugo MANTEL" userId="2d5b7065-31bb-4181-a7f8-a73bf0c30211" providerId="ADAL" clId="{2A660E2D-CD4C-439C-955B-BDD952B126F0}" dt="2021-03-08T10:01:32.518" v="14028"/>
          <ac:spMkLst>
            <pc:docMk/>
            <pc:sldMk cId="1868022673" sldId="7334"/>
            <ac:spMk id="173" creationId="{B3A85013-27C7-4AC9-B6F2-FC2A065C92FF}"/>
          </ac:spMkLst>
        </pc:spChg>
        <pc:spChg chg="del mod">
          <ac:chgData name="Ugo MANTEL" userId="2d5b7065-31bb-4181-a7f8-a73bf0c30211" providerId="ADAL" clId="{2A660E2D-CD4C-439C-955B-BDD952B126F0}" dt="2021-03-08T10:01:32.528" v="14039"/>
          <ac:spMkLst>
            <pc:docMk/>
            <pc:sldMk cId="1868022673" sldId="7334"/>
            <ac:spMk id="174" creationId="{961B3912-02E0-476F-9443-E66DCF6A8DD5}"/>
          </ac:spMkLst>
        </pc:spChg>
        <pc:spChg chg="del mod">
          <ac:chgData name="Ugo MANTEL" userId="2d5b7065-31bb-4181-a7f8-a73bf0c30211" providerId="ADAL" clId="{2A660E2D-CD4C-439C-955B-BDD952B126F0}" dt="2021-03-08T10:01:32.532" v="14053"/>
          <ac:spMkLst>
            <pc:docMk/>
            <pc:sldMk cId="1868022673" sldId="7334"/>
            <ac:spMk id="175" creationId="{EEAF0D44-F8B4-4C9C-AE2B-063E9E9B5A63}"/>
          </ac:spMkLst>
        </pc:spChg>
        <pc:spChg chg="del mod">
          <ac:chgData name="Ugo MANTEL" userId="2d5b7065-31bb-4181-a7f8-a73bf0c30211" providerId="ADAL" clId="{2A660E2D-CD4C-439C-955B-BDD952B126F0}" dt="2021-03-08T10:01:32.522" v="14032"/>
          <ac:spMkLst>
            <pc:docMk/>
            <pc:sldMk cId="1868022673" sldId="7334"/>
            <ac:spMk id="176" creationId="{A0A18266-BDBC-49BD-A056-1D980292D708}"/>
          </ac:spMkLst>
        </pc:spChg>
        <pc:spChg chg="del mod">
          <ac:chgData name="Ugo MANTEL" userId="2d5b7065-31bb-4181-a7f8-a73bf0c30211" providerId="ADAL" clId="{2A660E2D-CD4C-439C-955B-BDD952B126F0}" dt="2021-03-08T10:01:32.547" v="14075"/>
          <ac:spMkLst>
            <pc:docMk/>
            <pc:sldMk cId="1868022673" sldId="7334"/>
            <ac:spMk id="177" creationId="{98087942-881E-4D83-BD07-1B7DFA44E90B}"/>
          </ac:spMkLst>
        </pc:spChg>
        <pc:spChg chg="del mod">
          <ac:chgData name="Ugo MANTEL" userId="2d5b7065-31bb-4181-a7f8-a73bf0c30211" providerId="ADAL" clId="{2A660E2D-CD4C-439C-955B-BDD952B126F0}" dt="2021-03-08T10:01:32.532" v="14044"/>
          <ac:spMkLst>
            <pc:docMk/>
            <pc:sldMk cId="1868022673" sldId="7334"/>
            <ac:spMk id="178" creationId="{4114460A-A6ED-428D-AC77-157401BF71B0}"/>
          </ac:spMkLst>
        </pc:spChg>
        <pc:spChg chg="del mod">
          <ac:chgData name="Ugo MANTEL" userId="2d5b7065-31bb-4181-a7f8-a73bf0c30211" providerId="ADAL" clId="{2A660E2D-CD4C-439C-955B-BDD952B126F0}" dt="2021-03-08T10:01:32.547" v="14074"/>
          <ac:spMkLst>
            <pc:docMk/>
            <pc:sldMk cId="1868022673" sldId="7334"/>
            <ac:spMk id="179" creationId="{8C0E345A-3C62-4345-A6A6-ED6D23D26C46}"/>
          </ac:spMkLst>
        </pc:spChg>
        <pc:spChg chg="del mod">
          <ac:chgData name="Ugo MANTEL" userId="2d5b7065-31bb-4181-a7f8-a73bf0c30211" providerId="ADAL" clId="{2A660E2D-CD4C-439C-955B-BDD952B126F0}" dt="2021-03-08T10:01:32.547" v="14076"/>
          <ac:spMkLst>
            <pc:docMk/>
            <pc:sldMk cId="1868022673" sldId="7334"/>
            <ac:spMk id="180" creationId="{196E37F8-2023-426A-93FD-D8701BBC5501}"/>
          </ac:spMkLst>
        </pc:spChg>
        <pc:spChg chg="del mod">
          <ac:chgData name="Ugo MANTEL" userId="2d5b7065-31bb-4181-a7f8-a73bf0c30211" providerId="ADAL" clId="{2A660E2D-CD4C-439C-955B-BDD952B126F0}" dt="2021-03-08T10:01:32.527" v="14038"/>
          <ac:spMkLst>
            <pc:docMk/>
            <pc:sldMk cId="1868022673" sldId="7334"/>
            <ac:spMk id="181" creationId="{06F854A8-C1A6-4563-BC36-A0F2AC4D87D2}"/>
          </ac:spMkLst>
        </pc:spChg>
        <pc:spChg chg="del mod ord">
          <ac:chgData name="Ugo MANTEL" userId="2d5b7065-31bb-4181-a7f8-a73bf0c30211" providerId="ADAL" clId="{2A660E2D-CD4C-439C-955B-BDD952B126F0}" dt="2021-03-08T10:01:39.063" v="14083" actId="478"/>
          <ac:spMkLst>
            <pc:docMk/>
            <pc:sldMk cId="1868022673" sldId="7334"/>
            <ac:spMk id="182" creationId="{6C565E8B-F496-454F-80C5-2992CC718278}"/>
          </ac:spMkLst>
        </pc:spChg>
        <pc:spChg chg="del mod ord">
          <ac:chgData name="Ugo MANTEL" userId="2d5b7065-31bb-4181-a7f8-a73bf0c30211" providerId="ADAL" clId="{2A660E2D-CD4C-439C-955B-BDD952B126F0}" dt="2021-03-08T10:01:39.063" v="14083" actId="478"/>
          <ac:spMkLst>
            <pc:docMk/>
            <pc:sldMk cId="1868022673" sldId="7334"/>
            <ac:spMk id="183" creationId="{9AFF5363-CE07-4936-8748-9D7B13ECE13F}"/>
          </ac:spMkLst>
        </pc:spChg>
        <pc:spChg chg="add mod ord">
          <ac:chgData name="Ugo MANTEL" userId="2d5b7065-31bb-4181-a7f8-a73bf0c30211" providerId="ADAL" clId="{2A660E2D-CD4C-439C-955B-BDD952B126F0}" dt="2021-03-08T13:55:03.976" v="31116"/>
          <ac:spMkLst>
            <pc:docMk/>
            <pc:sldMk cId="1868022673" sldId="7334"/>
            <ac:spMk id="185" creationId="{F1C0A7B8-5031-4226-BE87-085790533176}"/>
          </ac:spMkLst>
        </pc:spChg>
        <pc:spChg chg="add mod">
          <ac:chgData name="Ugo MANTEL" userId="2d5b7065-31bb-4181-a7f8-a73bf0c30211" providerId="ADAL" clId="{2A660E2D-CD4C-439C-955B-BDD952B126F0}" dt="2021-03-08T13:55:03.986" v="31127"/>
          <ac:spMkLst>
            <pc:docMk/>
            <pc:sldMk cId="1868022673" sldId="7334"/>
            <ac:spMk id="193" creationId="{C258FE6B-4114-44CA-B4E6-9F9F1F7C90C4}"/>
          </ac:spMkLst>
        </pc:spChg>
        <pc:spChg chg="add mod ord">
          <ac:chgData name="Ugo MANTEL" userId="2d5b7065-31bb-4181-a7f8-a73bf0c30211" providerId="ADAL" clId="{2A660E2D-CD4C-439C-955B-BDD952B126F0}" dt="2021-03-08T13:55:03.987" v="31129"/>
          <ac:spMkLst>
            <pc:docMk/>
            <pc:sldMk cId="1868022673" sldId="7334"/>
            <ac:spMk id="195" creationId="{0C32A895-2176-4279-B713-89D8B539ADB8}"/>
          </ac:spMkLst>
        </pc:spChg>
        <pc:spChg chg="add mod ord">
          <ac:chgData name="Ugo MANTEL" userId="2d5b7065-31bb-4181-a7f8-a73bf0c30211" providerId="ADAL" clId="{2A660E2D-CD4C-439C-955B-BDD952B126F0}" dt="2021-03-08T13:55:03.987" v="31131"/>
          <ac:spMkLst>
            <pc:docMk/>
            <pc:sldMk cId="1868022673" sldId="7334"/>
            <ac:spMk id="198" creationId="{5BE5B79A-9592-4864-AF62-B966179B6696}"/>
          </ac:spMkLst>
        </pc:spChg>
        <pc:spChg chg="add mod ord">
          <ac:chgData name="Ugo MANTEL" userId="2d5b7065-31bb-4181-a7f8-a73bf0c30211" providerId="ADAL" clId="{2A660E2D-CD4C-439C-955B-BDD952B126F0}" dt="2021-03-08T13:55:03.989" v="31133"/>
          <ac:spMkLst>
            <pc:docMk/>
            <pc:sldMk cId="1868022673" sldId="7334"/>
            <ac:spMk id="200" creationId="{5D38DE1F-093D-4ECE-93E1-1D84D885DB0F}"/>
          </ac:spMkLst>
        </pc:spChg>
        <pc:spChg chg="add mod ord">
          <ac:chgData name="Ugo MANTEL" userId="2d5b7065-31bb-4181-a7f8-a73bf0c30211" providerId="ADAL" clId="{2A660E2D-CD4C-439C-955B-BDD952B126F0}" dt="2021-03-08T13:55:03.990" v="31136"/>
          <ac:spMkLst>
            <pc:docMk/>
            <pc:sldMk cId="1868022673" sldId="7334"/>
            <ac:spMk id="202" creationId="{8829B546-A902-406A-A0AD-A95D8FCEC3B2}"/>
          </ac:spMkLst>
        </pc:spChg>
        <pc:spChg chg="add mod">
          <ac:chgData name="Ugo MANTEL" userId="2d5b7065-31bb-4181-a7f8-a73bf0c30211" providerId="ADAL" clId="{2A660E2D-CD4C-439C-955B-BDD952B126F0}" dt="2021-03-08T13:55:03.993" v="31140"/>
          <ac:spMkLst>
            <pc:docMk/>
            <pc:sldMk cId="1868022673" sldId="7334"/>
            <ac:spMk id="204" creationId="{C0CFB379-309E-427D-8159-C9C65670CEB2}"/>
          </ac:spMkLst>
        </pc:spChg>
        <pc:spChg chg="add mod ord">
          <ac:chgData name="Ugo MANTEL" userId="2d5b7065-31bb-4181-a7f8-a73bf0c30211" providerId="ADAL" clId="{2A660E2D-CD4C-439C-955B-BDD952B126F0}" dt="2021-03-08T13:55:03.992" v="31139"/>
          <ac:spMkLst>
            <pc:docMk/>
            <pc:sldMk cId="1868022673" sldId="7334"/>
            <ac:spMk id="205" creationId="{691FEF0C-C85F-4A5C-A890-50298F69086D}"/>
          </ac:spMkLst>
        </pc:spChg>
        <pc:spChg chg="add mod ord">
          <ac:chgData name="Ugo MANTEL" userId="2d5b7065-31bb-4181-a7f8-a73bf0c30211" providerId="ADAL" clId="{2A660E2D-CD4C-439C-955B-BDD952B126F0}" dt="2021-03-08T13:55:03.991" v="31137"/>
          <ac:spMkLst>
            <pc:docMk/>
            <pc:sldMk cId="1868022673" sldId="7334"/>
            <ac:spMk id="206" creationId="{44054CAB-9823-4C5D-8375-633C8C483257}"/>
          </ac:spMkLst>
        </pc:spChg>
        <pc:spChg chg="add del mod">
          <ac:chgData name="Ugo MANTEL" userId="2d5b7065-31bb-4181-a7f8-a73bf0c30211" providerId="ADAL" clId="{2A660E2D-CD4C-439C-955B-BDD952B126F0}" dt="2021-03-08T10:02:55.951" v="15828"/>
          <ac:spMkLst>
            <pc:docMk/>
            <pc:sldMk cId="1868022673" sldId="7334"/>
            <ac:spMk id="216" creationId="{FD120B41-5B9B-4BB6-B3A8-EBCF4C9837CA}"/>
          </ac:spMkLst>
        </pc:spChg>
        <pc:spChg chg="add mod">
          <ac:chgData name="Ugo MANTEL" userId="2d5b7065-31bb-4181-a7f8-a73bf0c30211" providerId="ADAL" clId="{2A660E2D-CD4C-439C-955B-BDD952B126F0}" dt="2021-03-08T13:55:04.015" v="31188"/>
          <ac:spMkLst>
            <pc:docMk/>
            <pc:sldMk cId="1868022673" sldId="7334"/>
            <ac:spMk id="218" creationId="{99B0FB8F-3864-4E2E-8AF0-F0EC9E262FA8}"/>
          </ac:spMkLst>
        </pc:spChg>
        <pc:spChg chg="mod ord">
          <ac:chgData name="Ugo MANTEL" userId="2d5b7065-31bb-4181-a7f8-a73bf0c30211" providerId="ADAL" clId="{2A660E2D-CD4C-439C-955B-BDD952B126F0}" dt="2021-03-08T13:55:03.983" v="31124"/>
          <ac:spMkLst>
            <pc:docMk/>
            <pc:sldMk cId="1868022673" sldId="7334"/>
            <ac:spMk id="219" creationId="{CA278E1B-2FC1-4324-9AE9-42BA72DACFC1}"/>
          </ac:spMkLst>
        </pc:spChg>
        <pc:spChg chg="mod ord">
          <ac:chgData name="Ugo MANTEL" userId="2d5b7065-31bb-4181-a7f8-a73bf0c30211" providerId="ADAL" clId="{2A660E2D-CD4C-439C-955B-BDD952B126F0}" dt="2021-03-08T13:55:03.980" v="31120"/>
          <ac:spMkLst>
            <pc:docMk/>
            <pc:sldMk cId="1868022673" sldId="7334"/>
            <ac:spMk id="220" creationId="{D2D2AD5C-D7D9-423C-8411-EDE40062E9E7}"/>
          </ac:spMkLst>
        </pc:spChg>
        <pc:spChg chg="add mod">
          <ac:chgData name="Ugo MANTEL" userId="2d5b7065-31bb-4181-a7f8-a73bf0c30211" providerId="ADAL" clId="{2A660E2D-CD4C-439C-955B-BDD952B126F0}" dt="2021-03-08T13:55:04.010" v="31177"/>
          <ac:spMkLst>
            <pc:docMk/>
            <pc:sldMk cId="1868022673" sldId="7334"/>
            <ac:spMk id="221" creationId="{4F2BC0FE-EE5C-405C-AEC0-6588A694E67E}"/>
          </ac:spMkLst>
        </pc:spChg>
        <pc:spChg chg="mod ord">
          <ac:chgData name="Ugo MANTEL" userId="2d5b7065-31bb-4181-a7f8-a73bf0c30211" providerId="ADAL" clId="{2A660E2D-CD4C-439C-955B-BDD952B126F0}" dt="2021-03-08T13:55:03.982" v="31123"/>
          <ac:spMkLst>
            <pc:docMk/>
            <pc:sldMk cId="1868022673" sldId="7334"/>
            <ac:spMk id="222" creationId="{1819E44A-4100-47F7-9CBC-80805882C80C}"/>
          </ac:spMkLst>
        </pc:spChg>
        <pc:spChg chg="mod ord">
          <ac:chgData name="Ugo MANTEL" userId="2d5b7065-31bb-4181-a7f8-a73bf0c30211" providerId="ADAL" clId="{2A660E2D-CD4C-439C-955B-BDD952B126F0}" dt="2021-03-08T13:55:03.981" v="31122"/>
          <ac:spMkLst>
            <pc:docMk/>
            <pc:sldMk cId="1868022673" sldId="7334"/>
            <ac:spMk id="223" creationId="{3E2BACA9-BCE9-45C6-94CC-F7E252A1E93D}"/>
          </ac:spMkLst>
        </pc:spChg>
        <pc:spChg chg="del mod ord">
          <ac:chgData name="Ugo MANTEL" userId="2d5b7065-31bb-4181-a7f8-a73bf0c30211" providerId="ADAL" clId="{2A660E2D-CD4C-439C-955B-BDD952B126F0}" dt="2021-03-08T09:59:02.136" v="5253"/>
          <ac:spMkLst>
            <pc:docMk/>
            <pc:sldMk cId="1868022673" sldId="7334"/>
            <ac:spMk id="224" creationId="{B6418F71-ED95-4896-8D91-641FAE51336D}"/>
          </ac:spMkLst>
        </pc:spChg>
        <pc:spChg chg="add mod ord">
          <ac:chgData name="Ugo MANTEL" userId="2d5b7065-31bb-4181-a7f8-a73bf0c30211" providerId="ADAL" clId="{2A660E2D-CD4C-439C-955B-BDD952B126F0}" dt="2021-03-08T13:55:04.012" v="31182"/>
          <ac:spMkLst>
            <pc:docMk/>
            <pc:sldMk cId="1868022673" sldId="7334"/>
            <ac:spMk id="225" creationId="{6CB9E307-83C3-4287-B1A7-459A1E5DC11D}"/>
          </ac:spMkLst>
        </pc:spChg>
        <pc:spChg chg="add mod ord">
          <ac:chgData name="Ugo MANTEL" userId="2d5b7065-31bb-4181-a7f8-a73bf0c30211" providerId="ADAL" clId="{2A660E2D-CD4C-439C-955B-BDD952B126F0}" dt="2021-03-08T13:55:04.013" v="31185"/>
          <ac:spMkLst>
            <pc:docMk/>
            <pc:sldMk cId="1868022673" sldId="7334"/>
            <ac:spMk id="226" creationId="{D6823F04-8E61-488F-AFCD-36BDD4F27999}"/>
          </ac:spMkLst>
        </pc:spChg>
        <pc:spChg chg="add mod">
          <ac:chgData name="Ugo MANTEL" userId="2d5b7065-31bb-4181-a7f8-a73bf0c30211" providerId="ADAL" clId="{2A660E2D-CD4C-439C-955B-BDD952B126F0}" dt="2021-03-08T13:55:04.012" v="31180"/>
          <ac:spMkLst>
            <pc:docMk/>
            <pc:sldMk cId="1868022673" sldId="7334"/>
            <ac:spMk id="227" creationId="{6D9C64D9-4443-4412-8135-A58DBB11A17E}"/>
          </ac:spMkLst>
        </pc:spChg>
        <pc:spChg chg="add mod ord">
          <ac:chgData name="Ugo MANTEL" userId="2d5b7065-31bb-4181-a7f8-a73bf0c30211" providerId="ADAL" clId="{2A660E2D-CD4C-439C-955B-BDD952B126F0}" dt="2021-03-08T13:55:04.015" v="31187"/>
          <ac:spMkLst>
            <pc:docMk/>
            <pc:sldMk cId="1868022673" sldId="7334"/>
            <ac:spMk id="228" creationId="{57A7CEC4-7EC1-40B5-9109-0D993259533F}"/>
          </ac:spMkLst>
        </pc:spChg>
        <pc:spChg chg="add mod">
          <ac:chgData name="Ugo MANTEL" userId="2d5b7065-31bb-4181-a7f8-a73bf0c30211" providerId="ADAL" clId="{2A660E2D-CD4C-439C-955B-BDD952B126F0}" dt="2021-03-08T13:55:04.009" v="31175"/>
          <ac:spMkLst>
            <pc:docMk/>
            <pc:sldMk cId="1868022673" sldId="7334"/>
            <ac:spMk id="229" creationId="{17474289-60F2-4EFB-BE81-2E5226DAE21B}"/>
          </ac:spMkLst>
        </pc:spChg>
        <pc:spChg chg="add mod">
          <ac:chgData name="Ugo MANTEL" userId="2d5b7065-31bb-4181-a7f8-a73bf0c30211" providerId="ADAL" clId="{2A660E2D-CD4C-439C-955B-BDD952B126F0}" dt="2021-03-08T13:55:04.009" v="31176"/>
          <ac:spMkLst>
            <pc:docMk/>
            <pc:sldMk cId="1868022673" sldId="7334"/>
            <ac:spMk id="230" creationId="{22DBFF47-8D64-4256-A62F-D5BEC4232EE5}"/>
          </ac:spMkLst>
        </pc:spChg>
        <pc:spChg chg="add mod">
          <ac:chgData name="Ugo MANTEL" userId="2d5b7065-31bb-4181-a7f8-a73bf0c30211" providerId="ADAL" clId="{2A660E2D-CD4C-439C-955B-BDD952B126F0}" dt="2021-03-08T13:55:04.016" v="31191"/>
          <ac:spMkLst>
            <pc:docMk/>
            <pc:sldMk cId="1868022673" sldId="7334"/>
            <ac:spMk id="231" creationId="{AF590AAB-E9AB-4534-BF4F-4DDBD8893458}"/>
          </ac:spMkLst>
        </pc:spChg>
        <pc:spChg chg="add mod">
          <ac:chgData name="Ugo MANTEL" userId="2d5b7065-31bb-4181-a7f8-a73bf0c30211" providerId="ADAL" clId="{2A660E2D-CD4C-439C-955B-BDD952B126F0}" dt="2021-03-08T13:55:04.018" v="31194"/>
          <ac:spMkLst>
            <pc:docMk/>
            <pc:sldMk cId="1868022673" sldId="7334"/>
            <ac:spMk id="232" creationId="{36D5DAC6-3C0B-4767-8641-763347858B5B}"/>
          </ac:spMkLst>
        </pc:spChg>
        <pc:spChg chg="add mod">
          <ac:chgData name="Ugo MANTEL" userId="2d5b7065-31bb-4181-a7f8-a73bf0c30211" providerId="ADAL" clId="{2A660E2D-CD4C-439C-955B-BDD952B126F0}" dt="2021-03-08T13:55:04.023" v="31202"/>
          <ac:spMkLst>
            <pc:docMk/>
            <pc:sldMk cId="1868022673" sldId="7334"/>
            <ac:spMk id="233" creationId="{EBF51FFC-C880-4B81-BE21-5772A6EEC240}"/>
          </ac:spMkLst>
        </pc:spChg>
        <pc:spChg chg="add mod ord">
          <ac:chgData name="Ugo MANTEL" userId="2d5b7065-31bb-4181-a7f8-a73bf0c30211" providerId="ADAL" clId="{2A660E2D-CD4C-439C-955B-BDD952B126F0}" dt="2021-03-08T13:55:04.013" v="31184"/>
          <ac:spMkLst>
            <pc:docMk/>
            <pc:sldMk cId="1868022673" sldId="7334"/>
            <ac:spMk id="237" creationId="{AF67E44B-AB1A-46E1-9965-352B1F7AE28A}"/>
          </ac:spMkLst>
        </pc:spChg>
        <pc:spChg chg="add mod">
          <ac:chgData name="Ugo MANTEL" userId="2d5b7065-31bb-4181-a7f8-a73bf0c30211" providerId="ADAL" clId="{2A660E2D-CD4C-439C-955B-BDD952B126F0}" dt="2021-03-08T13:55:04.022" v="31201"/>
          <ac:spMkLst>
            <pc:docMk/>
            <pc:sldMk cId="1868022673" sldId="7334"/>
            <ac:spMk id="238" creationId="{9868E0E0-DA4A-4791-A0FF-3DFA2A34EB1B}"/>
          </ac:spMkLst>
        </pc:spChg>
        <pc:spChg chg="add mod ord">
          <ac:chgData name="Ugo MANTEL" userId="2d5b7065-31bb-4181-a7f8-a73bf0c30211" providerId="ADAL" clId="{2A660E2D-CD4C-439C-955B-BDD952B126F0}" dt="2021-03-08T13:55:04.010" v="31179"/>
          <ac:spMkLst>
            <pc:docMk/>
            <pc:sldMk cId="1868022673" sldId="7334"/>
            <ac:spMk id="239" creationId="{5A50C174-CC24-4ED1-8CC4-6268E0E9EFBA}"/>
          </ac:spMkLst>
        </pc:spChg>
        <pc:spChg chg="add mod ord">
          <ac:chgData name="Ugo MANTEL" userId="2d5b7065-31bb-4181-a7f8-a73bf0c30211" providerId="ADAL" clId="{2A660E2D-CD4C-439C-955B-BDD952B126F0}" dt="2021-03-08T13:55:04.016" v="31190"/>
          <ac:spMkLst>
            <pc:docMk/>
            <pc:sldMk cId="1868022673" sldId="7334"/>
            <ac:spMk id="240" creationId="{23C64EDA-26AF-447A-A69D-3E3B36FDDFDE}"/>
          </ac:spMkLst>
        </pc:spChg>
        <pc:spChg chg="add mod ord">
          <ac:chgData name="Ugo MANTEL" userId="2d5b7065-31bb-4181-a7f8-a73bf0c30211" providerId="ADAL" clId="{2A660E2D-CD4C-439C-955B-BDD952B126F0}" dt="2021-03-08T13:55:04.017" v="31193"/>
          <ac:spMkLst>
            <pc:docMk/>
            <pc:sldMk cId="1868022673" sldId="7334"/>
            <ac:spMk id="241" creationId="{0AFCE273-362E-4FFB-95E3-4A60CA51AA99}"/>
          </ac:spMkLst>
        </pc:spChg>
        <pc:spChg chg="add mod ord">
          <ac:chgData name="Ugo MANTEL" userId="2d5b7065-31bb-4181-a7f8-a73bf0c30211" providerId="ADAL" clId="{2A660E2D-CD4C-439C-955B-BDD952B126F0}" dt="2021-03-08T13:55:04.019" v="31196"/>
          <ac:spMkLst>
            <pc:docMk/>
            <pc:sldMk cId="1868022673" sldId="7334"/>
            <ac:spMk id="242" creationId="{F49738C4-2927-49F4-838F-0C335861A750}"/>
          </ac:spMkLst>
        </pc:spChg>
        <pc:spChg chg="add mod">
          <ac:chgData name="Ugo MANTEL" userId="2d5b7065-31bb-4181-a7f8-a73bf0c30211" providerId="ADAL" clId="{2A660E2D-CD4C-439C-955B-BDD952B126F0}" dt="2021-03-08T13:55:04.022" v="31200"/>
          <ac:spMkLst>
            <pc:docMk/>
            <pc:sldMk cId="1868022673" sldId="7334"/>
            <ac:spMk id="243" creationId="{F729DE11-8B71-4992-8CBE-76A0BC27E18D}"/>
          </ac:spMkLst>
        </pc:spChg>
        <pc:spChg chg="add mod ord">
          <ac:chgData name="Ugo MANTEL" userId="2d5b7065-31bb-4181-a7f8-a73bf0c30211" providerId="ADAL" clId="{2A660E2D-CD4C-439C-955B-BDD952B126F0}" dt="2021-03-08T13:55:04.020" v="31199"/>
          <ac:spMkLst>
            <pc:docMk/>
            <pc:sldMk cId="1868022673" sldId="7334"/>
            <ac:spMk id="244" creationId="{99526C58-5786-4E63-A52B-162856B951C5}"/>
          </ac:spMkLst>
        </pc:spChg>
        <pc:spChg chg="add mod ord">
          <ac:chgData name="Ugo MANTEL" userId="2d5b7065-31bb-4181-a7f8-a73bf0c30211" providerId="ADAL" clId="{2A660E2D-CD4C-439C-955B-BDD952B126F0}" dt="2021-03-08T13:55:04.019" v="31197"/>
          <ac:spMkLst>
            <pc:docMk/>
            <pc:sldMk cId="1868022673" sldId="7334"/>
            <ac:spMk id="245" creationId="{1B20CB59-13A1-4167-B8A8-AFAF039A8DA4}"/>
          </ac:spMkLst>
        </pc:spChg>
        <pc:spChg chg="del mod ord">
          <ac:chgData name="Ugo MANTEL" userId="2d5b7065-31bb-4181-a7f8-a73bf0c30211" providerId="ADAL" clId="{2A660E2D-CD4C-439C-955B-BDD952B126F0}" dt="2021-03-08T09:59:02.138" v="5255"/>
          <ac:spMkLst>
            <pc:docMk/>
            <pc:sldMk cId="1868022673" sldId="7334"/>
            <ac:spMk id="255" creationId="{68CEB430-045A-4778-BFCA-54106FFB1A78}"/>
          </ac:spMkLst>
        </pc:spChg>
        <pc:spChg chg="del mod ord">
          <ac:chgData name="Ugo MANTEL" userId="2d5b7065-31bb-4181-a7f8-a73bf0c30211" providerId="ADAL" clId="{2A660E2D-CD4C-439C-955B-BDD952B126F0}" dt="2021-03-08T10:00:16.049" v="10830"/>
          <ac:spMkLst>
            <pc:docMk/>
            <pc:sldMk cId="1868022673" sldId="7334"/>
            <ac:spMk id="259" creationId="{00DB6482-80EE-4A5D-B495-712C99801888}"/>
          </ac:spMkLst>
        </pc:spChg>
        <pc:spChg chg="del mod">
          <ac:chgData name="Ugo MANTEL" userId="2d5b7065-31bb-4181-a7f8-a73bf0c30211" providerId="ADAL" clId="{2A660E2D-CD4C-439C-955B-BDD952B126F0}" dt="2021-03-08T09:59:59.710" v="9555"/>
          <ac:spMkLst>
            <pc:docMk/>
            <pc:sldMk cId="1868022673" sldId="7334"/>
            <ac:spMk id="263" creationId="{2DD5C219-0A1E-4C91-9C3C-2ECADD6ECA72}"/>
          </ac:spMkLst>
        </pc:spChg>
        <pc:spChg chg="del mod ord">
          <ac:chgData name="Ugo MANTEL" userId="2d5b7065-31bb-4181-a7f8-a73bf0c30211" providerId="ADAL" clId="{2A660E2D-CD4C-439C-955B-BDD952B126F0}" dt="2021-03-08T09:59:30.611" v="8010"/>
          <ac:spMkLst>
            <pc:docMk/>
            <pc:sldMk cId="1868022673" sldId="7334"/>
            <ac:spMk id="267" creationId="{BEC1A8A5-D147-4994-8DC5-E0EBD78F44D0}"/>
          </ac:spMkLst>
        </pc:spChg>
        <pc:spChg chg="del mod">
          <ac:chgData name="Ugo MANTEL" userId="2d5b7065-31bb-4181-a7f8-a73bf0c30211" providerId="ADAL" clId="{2A660E2D-CD4C-439C-955B-BDD952B126F0}" dt="2021-03-08T09:59:56.325" v="9307"/>
          <ac:spMkLst>
            <pc:docMk/>
            <pc:sldMk cId="1868022673" sldId="7334"/>
            <ac:spMk id="272" creationId="{E2E776D2-D89A-4EFF-A45B-6D1ABB504DF5}"/>
          </ac:spMkLst>
        </pc:spChg>
        <pc:spChg chg="del mod">
          <ac:chgData name="Ugo MANTEL" userId="2d5b7065-31bb-4181-a7f8-a73bf0c30211" providerId="ADAL" clId="{2A660E2D-CD4C-439C-955B-BDD952B126F0}" dt="2021-03-08T09:59:56.342" v="9315"/>
          <ac:spMkLst>
            <pc:docMk/>
            <pc:sldMk cId="1868022673" sldId="7334"/>
            <ac:spMk id="288" creationId="{EAF36915-6B90-46A9-A15F-822637FDA16A}"/>
          </ac:spMkLst>
        </pc:spChg>
        <pc:spChg chg="del mod ord">
          <ac:chgData name="Ugo MANTEL" userId="2d5b7065-31bb-4181-a7f8-a73bf0c30211" providerId="ADAL" clId="{2A660E2D-CD4C-439C-955B-BDD952B126F0}" dt="2021-03-08T09:59:59.716" v="9560"/>
          <ac:spMkLst>
            <pc:docMk/>
            <pc:sldMk cId="1868022673" sldId="7334"/>
            <ac:spMk id="289" creationId="{81A31DB8-99C4-4548-81F7-3EA9E7029446}"/>
          </ac:spMkLst>
        </pc:spChg>
        <pc:spChg chg="del mod">
          <ac:chgData name="Ugo MANTEL" userId="2d5b7065-31bb-4181-a7f8-a73bf0c30211" providerId="ADAL" clId="{2A660E2D-CD4C-439C-955B-BDD952B126F0}" dt="2021-03-08T10:00:04.902" v="10092"/>
          <ac:spMkLst>
            <pc:docMk/>
            <pc:sldMk cId="1868022673" sldId="7334"/>
            <ac:spMk id="296" creationId="{F3E8D5A5-F2FF-4E71-84E2-BE238D102ABF}"/>
          </ac:spMkLst>
        </pc:spChg>
        <pc:spChg chg="del mod ord">
          <ac:chgData name="Ugo MANTEL" userId="2d5b7065-31bb-4181-a7f8-a73bf0c30211" providerId="ADAL" clId="{2A660E2D-CD4C-439C-955B-BDD952B126F0}" dt="2021-03-08T09:59:59.726" v="9566"/>
          <ac:spMkLst>
            <pc:docMk/>
            <pc:sldMk cId="1868022673" sldId="7334"/>
            <ac:spMk id="297" creationId="{73192C54-BCE2-466F-A521-55F015D7D8E4}"/>
          </ac:spMkLst>
        </pc:spChg>
        <pc:spChg chg="del mod">
          <ac:chgData name="Ugo MANTEL" userId="2d5b7065-31bb-4181-a7f8-a73bf0c30211" providerId="ADAL" clId="{2A660E2D-CD4C-439C-955B-BDD952B126F0}" dt="2021-03-08T09:59:59.818" v="9604"/>
          <ac:spMkLst>
            <pc:docMk/>
            <pc:sldMk cId="1868022673" sldId="7334"/>
            <ac:spMk id="329" creationId="{D50DF1BF-E8E1-441A-8845-000F39BED6EE}"/>
          </ac:spMkLst>
        </pc:spChg>
        <pc:spChg chg="mod ord">
          <ac:chgData name="Ugo MANTEL" userId="2d5b7065-31bb-4181-a7f8-a73bf0c30211" providerId="ADAL" clId="{2A660E2D-CD4C-439C-955B-BDD952B126F0}" dt="2021-03-08T13:55:03.995" v="31144"/>
          <ac:spMkLst>
            <pc:docMk/>
            <pc:sldMk cId="1868022673" sldId="7334"/>
            <ac:spMk id="364" creationId="{8451D16B-D84D-482A-A648-2750F628332B}"/>
          </ac:spMkLst>
        </pc:spChg>
        <pc:spChg chg="mod ord">
          <ac:chgData name="Ugo MANTEL" userId="2d5b7065-31bb-4181-a7f8-a73bf0c30211" providerId="ADAL" clId="{2A660E2D-CD4C-439C-955B-BDD952B126F0}" dt="2021-03-08T13:55:03.995" v="31146"/>
          <ac:spMkLst>
            <pc:docMk/>
            <pc:sldMk cId="1868022673" sldId="7334"/>
            <ac:spMk id="365" creationId="{7B9D39F4-D9E1-44B7-A08C-EF3E7594E2EB}"/>
          </ac:spMkLst>
        </pc:spChg>
        <pc:spChg chg="mod ord">
          <ac:chgData name="Ugo MANTEL" userId="2d5b7065-31bb-4181-a7f8-a73bf0c30211" providerId="ADAL" clId="{2A660E2D-CD4C-439C-955B-BDD952B126F0}" dt="2021-03-08T13:55:03.996" v="31148"/>
          <ac:spMkLst>
            <pc:docMk/>
            <pc:sldMk cId="1868022673" sldId="7334"/>
            <ac:spMk id="366" creationId="{20775784-4961-4809-A261-CC17F3A47D0C}"/>
          </ac:spMkLst>
        </pc:spChg>
        <pc:spChg chg="mod ord">
          <ac:chgData name="Ugo MANTEL" userId="2d5b7065-31bb-4181-a7f8-a73bf0c30211" providerId="ADAL" clId="{2A660E2D-CD4C-439C-955B-BDD952B126F0}" dt="2021-03-08T13:55:03.997" v="31150"/>
          <ac:spMkLst>
            <pc:docMk/>
            <pc:sldMk cId="1868022673" sldId="7334"/>
            <ac:spMk id="367" creationId="{39AFC2BA-3A2E-4D08-B9F4-61D23BD9FDA2}"/>
          </ac:spMkLst>
        </pc:spChg>
        <pc:spChg chg="mod ord">
          <ac:chgData name="Ugo MANTEL" userId="2d5b7065-31bb-4181-a7f8-a73bf0c30211" providerId="ADAL" clId="{2A660E2D-CD4C-439C-955B-BDD952B126F0}" dt="2021-03-08T13:55:04" v="31158"/>
          <ac:spMkLst>
            <pc:docMk/>
            <pc:sldMk cId="1868022673" sldId="7334"/>
            <ac:spMk id="375" creationId="{75237AA5-C2C5-4937-A3E0-56A8D0BA8F46}"/>
          </ac:spMkLst>
        </pc:spChg>
        <pc:spChg chg="del mod ord">
          <ac:chgData name="Ugo MANTEL" userId="2d5b7065-31bb-4181-a7f8-a73bf0c30211" providerId="ADAL" clId="{2A660E2D-CD4C-439C-955B-BDD952B126F0}" dt="2021-03-08T09:59:59.698" v="9550"/>
          <ac:spMkLst>
            <pc:docMk/>
            <pc:sldMk cId="1868022673" sldId="7334"/>
            <ac:spMk id="517" creationId="{C440CC15-4AE3-4056-9425-7F7A210842B9}"/>
          </ac:spMkLst>
        </pc:spChg>
        <pc:spChg chg="del mod">
          <ac:chgData name="Ugo MANTEL" userId="2d5b7065-31bb-4181-a7f8-a73bf0c30211" providerId="ADAL" clId="{2A660E2D-CD4C-439C-955B-BDD952B126F0}" dt="2021-03-08T09:59:02.138" v="5256"/>
          <ac:spMkLst>
            <pc:docMk/>
            <pc:sldMk cId="1868022673" sldId="7334"/>
            <ac:spMk id="518" creationId="{157B2CC6-7B52-42E8-AFB0-C3044E16B40A}"/>
          </ac:spMkLst>
        </pc:spChg>
        <pc:spChg chg="del mod">
          <ac:chgData name="Ugo MANTEL" userId="2d5b7065-31bb-4181-a7f8-a73bf0c30211" providerId="ADAL" clId="{2A660E2D-CD4C-439C-955B-BDD952B126F0}" dt="2021-03-08T09:59:59.710" v="9556"/>
          <ac:spMkLst>
            <pc:docMk/>
            <pc:sldMk cId="1868022673" sldId="7334"/>
            <ac:spMk id="522" creationId="{58D131E2-9FEE-400C-9752-106D76B01B3B}"/>
          </ac:spMkLst>
        </pc:spChg>
        <pc:spChg chg="del mod">
          <ac:chgData name="Ugo MANTEL" userId="2d5b7065-31bb-4181-a7f8-a73bf0c30211" providerId="ADAL" clId="{2A660E2D-CD4C-439C-955B-BDD952B126F0}" dt="2021-03-08T09:59:30.613" v="8013"/>
          <ac:spMkLst>
            <pc:docMk/>
            <pc:sldMk cId="1868022673" sldId="7334"/>
            <ac:spMk id="525" creationId="{2A182D36-6F04-41A8-8378-E861F36D826D}"/>
          </ac:spMkLst>
        </pc:spChg>
        <pc:spChg chg="del mod ord">
          <ac:chgData name="Ugo MANTEL" userId="2d5b7065-31bb-4181-a7f8-a73bf0c30211" providerId="ADAL" clId="{2A660E2D-CD4C-439C-955B-BDD952B126F0}" dt="2021-03-08T09:59:59.716" v="9562"/>
          <ac:spMkLst>
            <pc:docMk/>
            <pc:sldMk cId="1868022673" sldId="7334"/>
            <ac:spMk id="528" creationId="{BD3A1620-027C-4D80-AF03-BF7FF0113D73}"/>
          </ac:spMkLst>
        </pc:spChg>
        <pc:spChg chg="del mod ord">
          <ac:chgData name="Ugo MANTEL" userId="2d5b7065-31bb-4181-a7f8-a73bf0c30211" providerId="ADAL" clId="{2A660E2D-CD4C-439C-955B-BDD952B126F0}" dt="2021-03-08T09:59:59.729" v="9569"/>
          <ac:spMkLst>
            <pc:docMk/>
            <pc:sldMk cId="1868022673" sldId="7334"/>
            <ac:spMk id="531" creationId="{2A507AB9-B0CA-47BA-BE9F-E1401C93FD5B}"/>
          </ac:spMkLst>
        </pc:spChg>
        <pc:spChg chg="del mod">
          <ac:chgData name="Ugo MANTEL" userId="2d5b7065-31bb-4181-a7f8-a73bf0c30211" providerId="ADAL" clId="{2A660E2D-CD4C-439C-955B-BDD952B126F0}" dt="2021-03-08T10:01:32.532" v="14056"/>
          <ac:spMkLst>
            <pc:docMk/>
            <pc:sldMk cId="1868022673" sldId="7334"/>
            <ac:spMk id="553" creationId="{5FF8C4CA-A034-4CDD-A5B8-BFAFBBC2DBC2}"/>
          </ac:spMkLst>
        </pc:spChg>
        <pc:graphicFrameChg chg="mod ord">
          <ac:chgData name="Ugo MANTEL" userId="2d5b7065-31bb-4181-a7f8-a73bf0c30211" providerId="ADAL" clId="{2A660E2D-CD4C-439C-955B-BDD952B126F0}" dt="2021-03-08T13:55:04.041" v="31220"/>
          <ac:graphicFrameMkLst>
            <pc:docMk/>
            <pc:sldMk cId="1868022673" sldId="7334"/>
            <ac:graphicFrameMk id="9" creationId="{777857E2-6DF1-48EF-BB3F-BB1531140D04}"/>
          </ac:graphicFrameMkLst>
        </pc:graphicFrameChg>
        <pc:graphicFrameChg chg="del">
          <ac:chgData name="Ugo MANTEL" userId="2d5b7065-31bb-4181-a7f8-a73bf0c30211" providerId="ADAL" clId="{2A660E2D-CD4C-439C-955B-BDD952B126F0}" dt="2021-03-08T13:54:53.407" v="30272"/>
          <ac:graphicFrameMkLst>
            <pc:docMk/>
            <pc:sldMk cId="1868022673" sldId="7334"/>
            <ac:graphicFrameMk id="86" creationId="{EA9D85F9-64BC-47D2-9D45-5EE98D73FB7F}"/>
          </ac:graphicFrameMkLst>
        </pc:graphicFrameChg>
        <pc:graphicFrameChg chg="del mod ord">
          <ac:chgData name="Ugo MANTEL" userId="2d5b7065-31bb-4181-a7f8-a73bf0c30211" providerId="ADAL" clId="{2A660E2D-CD4C-439C-955B-BDD952B126F0}" dt="2021-03-08T13:55:01.742" v="30903"/>
          <ac:graphicFrameMkLst>
            <pc:docMk/>
            <pc:sldMk cId="1868022673" sldId="7334"/>
            <ac:graphicFrameMk id="87" creationId="{D0A7AC68-C582-4D26-A36A-4D12AF79C3CD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4:57.437" v="30444"/>
          <ac:graphicFrameMkLst>
            <pc:docMk/>
            <pc:sldMk cId="1868022673" sldId="7334"/>
            <ac:graphicFrameMk id="91" creationId="{C80C3222-D14C-442C-93EA-192F89E9D7F2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3:55:03.975" v="31114"/>
          <ac:graphicFrameMkLst>
            <pc:docMk/>
            <pc:sldMk cId="1868022673" sldId="7334"/>
            <ac:graphicFrameMk id="92" creationId="{0F6B1304-F831-48A7-B2FA-9CDC3F2837C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3:55:03.931" v="31075"/>
          <ac:graphicFrameMkLst>
            <pc:docMk/>
            <pc:sldMk cId="1868022673" sldId="7334"/>
            <ac:graphicFrameMk id="94" creationId="{34FE4B60-2E71-4454-8D49-0D1D8A4E184C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3:55:04.008" v="31174"/>
          <ac:graphicFrameMkLst>
            <pc:docMk/>
            <pc:sldMk cId="1868022673" sldId="7334"/>
            <ac:graphicFrameMk id="95" creationId="{C57FBD1B-D906-426E-A1C9-62A6BDF62C3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3:09.988" v="16534"/>
          <ac:graphicFrameMkLst>
            <pc:docMk/>
            <pc:sldMk cId="1868022673" sldId="7334"/>
            <ac:graphicFrameMk id="115" creationId="{32955D23-C407-46F3-99B7-BC5CAEF4DCAD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3:12.970" v="16987"/>
          <ac:graphicFrameMkLst>
            <pc:docMk/>
            <pc:sldMk cId="1868022673" sldId="7334"/>
            <ac:graphicFrameMk id="118" creationId="{5D71965F-9D23-4A33-8758-B9F29666FA2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3:30.081" v="17291"/>
          <ac:graphicFrameMkLst>
            <pc:docMk/>
            <pc:sldMk cId="1868022673" sldId="7334"/>
            <ac:graphicFrameMk id="121" creationId="{E9B12965-5108-45E7-B56F-3CEE3B0DE4C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3:42.395" v="17803"/>
          <ac:graphicFrameMkLst>
            <pc:docMk/>
            <pc:sldMk cId="1868022673" sldId="7334"/>
            <ac:graphicFrameMk id="124" creationId="{685871CD-4002-47E8-88B5-0E58885B4A2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3:47.837" v="18222"/>
          <ac:graphicFrameMkLst>
            <pc:docMk/>
            <pc:sldMk cId="1868022673" sldId="7334"/>
            <ac:graphicFrameMk id="125" creationId="{BE223FFB-9449-4FFC-8CAB-1F7E56460863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4:17.512" v="18390"/>
          <ac:graphicFrameMkLst>
            <pc:docMk/>
            <pc:sldMk cId="1868022673" sldId="7334"/>
            <ac:graphicFrameMk id="129" creationId="{DA863A09-D7D9-4D25-A031-95973C2C24C6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4:21.283" v="18550"/>
          <ac:graphicFrameMkLst>
            <pc:docMk/>
            <pc:sldMk cId="1868022673" sldId="7334"/>
            <ac:graphicFrameMk id="130" creationId="{85625535-10CB-4122-BB05-9E12DB999C0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4:35.175" v="18710"/>
          <ac:graphicFrameMkLst>
            <pc:docMk/>
            <pc:sldMk cId="1868022673" sldId="7334"/>
            <ac:graphicFrameMk id="131" creationId="{461F6B25-6BDD-400E-A850-B829FCA0ABAE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4:40.675" v="18869"/>
          <ac:graphicFrameMkLst>
            <pc:docMk/>
            <pc:sldMk cId="1868022673" sldId="7334"/>
            <ac:graphicFrameMk id="132" creationId="{2DE7495D-024A-4C63-BFAE-8EE1A2B5FC52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4:56.302" v="19066"/>
          <ac:graphicFrameMkLst>
            <pc:docMk/>
            <pc:sldMk cId="1868022673" sldId="7334"/>
            <ac:graphicFrameMk id="133" creationId="{81791C21-6927-4775-A634-0B6494471D8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4:58.543" v="19228"/>
          <ac:graphicFrameMkLst>
            <pc:docMk/>
            <pc:sldMk cId="1868022673" sldId="7334"/>
            <ac:graphicFrameMk id="135" creationId="{BE49989E-686C-45EA-9E43-CB0C79A761D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00.218" v="19424"/>
          <ac:graphicFrameMkLst>
            <pc:docMk/>
            <pc:sldMk cId="1868022673" sldId="7334"/>
            <ac:graphicFrameMk id="136" creationId="{7636E4B7-3999-425F-8C77-2E2348343E0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01.586" v="19586"/>
          <ac:graphicFrameMkLst>
            <pc:docMk/>
            <pc:sldMk cId="1868022673" sldId="7334"/>
            <ac:graphicFrameMk id="138" creationId="{92A5D5E8-0D84-432A-9724-4C73A9BF0A8D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0:05:54.920" v="21450"/>
          <ac:graphicFrameMkLst>
            <pc:docMk/>
            <pc:sldMk cId="1868022673" sldId="7334"/>
            <ac:graphicFrameMk id="139" creationId="{8EA89F09-32AE-458C-B277-24D8B930F01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12.344" v="20026"/>
          <ac:graphicFrameMkLst>
            <pc:docMk/>
            <pc:sldMk cId="1868022673" sldId="7334"/>
            <ac:graphicFrameMk id="141" creationId="{7607598B-8025-41FE-A310-164C8000F87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02.717" v="5661"/>
          <ac:graphicFrameMkLst>
            <pc:docMk/>
            <pc:sldMk cId="1868022673" sldId="7334"/>
            <ac:graphicFrameMk id="141" creationId="{E742B0A4-722B-45CD-A84E-D83DC5EF8EED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18.344" v="20186"/>
          <ac:graphicFrameMkLst>
            <pc:docMk/>
            <pc:sldMk cId="1868022673" sldId="7334"/>
            <ac:graphicFrameMk id="142" creationId="{75C099FD-585D-4361-945E-83CC06731D6E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22.272" v="20346"/>
          <ac:graphicFrameMkLst>
            <pc:docMk/>
            <pc:sldMk cId="1868022673" sldId="7334"/>
            <ac:graphicFrameMk id="143" creationId="{FD5A6097-0B10-47CF-A8EA-74DB95EA3593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05.813" v="5936"/>
          <ac:graphicFrameMkLst>
            <pc:docMk/>
            <pc:sldMk cId="1868022673" sldId="7334"/>
            <ac:graphicFrameMk id="144" creationId="{2CD66DDC-61E4-436F-B8AA-642D834D984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47.505" v="20507"/>
          <ac:graphicFrameMkLst>
            <pc:docMk/>
            <pc:sldMk cId="1868022673" sldId="7334"/>
            <ac:graphicFrameMk id="144" creationId="{40A6A6CD-1B02-4431-8B9E-CEDFAD20041E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49.709" v="20697"/>
          <ac:graphicFrameMkLst>
            <pc:docMk/>
            <pc:sldMk cId="1868022673" sldId="7334"/>
            <ac:graphicFrameMk id="145" creationId="{7D7ECE4E-BA74-4EAA-8863-3A09A1C85AC6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10.043" v="6549"/>
          <ac:graphicFrameMkLst>
            <pc:docMk/>
            <pc:sldMk cId="1868022673" sldId="7334"/>
            <ac:graphicFrameMk id="145" creationId="{C11ABFE3-AAA4-4A76-B623-14B504D7ED6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51.797" v="20853"/>
          <ac:graphicFrameMkLst>
            <pc:docMk/>
            <pc:sldMk cId="1868022673" sldId="7334"/>
            <ac:graphicFrameMk id="147" creationId="{8BC7CFF4-9E06-406A-B33C-26597F0C236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52.095" v="21005"/>
          <ac:graphicFrameMkLst>
            <pc:docMk/>
            <pc:sldMk cId="1868022673" sldId="7334"/>
            <ac:graphicFrameMk id="148" creationId="{B2FF3AB5-DB1E-490C-8AF3-C0C7B8853A37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54.052" v="21195"/>
          <ac:graphicFrameMkLst>
            <pc:docMk/>
            <pc:sldMk cId="1868022673" sldId="7334"/>
            <ac:graphicFrameMk id="149" creationId="{2C0DF67F-C7D7-4832-ABD5-F756D1C0E6F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54.802" v="21351"/>
          <ac:graphicFrameMkLst>
            <pc:docMk/>
            <pc:sldMk cId="1868022673" sldId="7334"/>
            <ac:graphicFrameMk id="151" creationId="{7DAE8028-E75B-4C69-856B-A34ADEA4A766}"/>
          </ac:graphicFrameMkLst>
        </pc:graphicFrameChg>
        <pc:graphicFrameChg chg="add mod ord">
          <ac:chgData name="Ugo MANTEL" userId="2d5b7065-31bb-4181-a7f8-a73bf0c30211" providerId="ADAL" clId="{2A660E2D-CD4C-439C-955B-BDD952B126F0}" dt="2021-03-08T10:05:54.868" v="21390"/>
          <ac:graphicFrameMkLst>
            <pc:docMk/>
            <pc:sldMk cId="1868022673" sldId="7334"/>
            <ac:graphicFrameMk id="152" creationId="{99EAC21E-CAC6-4D87-ABF3-6A61DD02199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16.677" v="7130"/>
          <ac:graphicFrameMkLst>
            <pc:docMk/>
            <pc:sldMk cId="1868022673" sldId="7334"/>
            <ac:graphicFrameMk id="154" creationId="{A0ACBF17-D7E4-402C-97D3-546C21735EBA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21.185" v="7454"/>
          <ac:graphicFrameMkLst>
            <pc:docMk/>
            <pc:sldMk cId="1868022673" sldId="7334"/>
            <ac:graphicFrameMk id="186" creationId="{67CF2A9A-9CF9-4ECA-8696-C5B9C64245E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24.817" v="7785"/>
          <ac:graphicFrameMkLst>
            <pc:docMk/>
            <pc:sldMk cId="1868022673" sldId="7334"/>
            <ac:graphicFrameMk id="187" creationId="{6D4F6A8C-0D4D-4870-9460-B85192CEF72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31.130" v="8371"/>
          <ac:graphicFrameMkLst>
            <pc:docMk/>
            <pc:sldMk cId="1868022673" sldId="7334"/>
            <ac:graphicFrameMk id="188" creationId="{4F84D7E7-73BE-408F-99D1-BEEAADA8DE2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39.175" v="8965"/>
          <ac:graphicFrameMkLst>
            <pc:docMk/>
            <pc:sldMk cId="1868022673" sldId="7334"/>
            <ac:graphicFrameMk id="189" creationId="{5C79A509-B392-4105-8303-335B007F9EC2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09:59:56.440" v="9331"/>
          <ac:graphicFrameMkLst>
            <pc:docMk/>
            <pc:sldMk cId="1868022673" sldId="7334"/>
            <ac:graphicFrameMk id="190" creationId="{337F8B7B-1457-4C70-A23C-240F997E1E1B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00.230" v="9885"/>
          <ac:graphicFrameMkLst>
            <pc:docMk/>
            <pc:sldMk cId="1868022673" sldId="7334"/>
            <ac:graphicFrameMk id="191" creationId="{7680617B-B875-41DA-964D-1D7513A0B23F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05.194" v="10238"/>
          <ac:graphicFrameMkLst>
            <pc:docMk/>
            <pc:sldMk cId="1868022673" sldId="7334"/>
            <ac:graphicFrameMk id="192" creationId="{E7E21AB7-A34A-41D5-90AF-8249BABE782C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14.631" v="10630"/>
          <ac:graphicFrameMkLst>
            <pc:docMk/>
            <pc:sldMk cId="1868022673" sldId="7334"/>
            <ac:graphicFrameMk id="194" creationId="{8806CA45-7EC7-4B95-9EB3-48C586BBB9D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16.473" v="11063"/>
          <ac:graphicFrameMkLst>
            <pc:docMk/>
            <pc:sldMk cId="1868022673" sldId="7334"/>
            <ac:graphicFrameMk id="196" creationId="{A38F56F7-D3AB-4882-B39D-20E7494C764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22.234" v="11482"/>
          <ac:graphicFrameMkLst>
            <pc:docMk/>
            <pc:sldMk cId="1868022673" sldId="7334"/>
            <ac:graphicFrameMk id="197" creationId="{A86B8700-3F13-4EA2-8CB7-6C16D7BC522E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27.431" v="11862"/>
          <ac:graphicFrameMkLst>
            <pc:docMk/>
            <pc:sldMk cId="1868022673" sldId="7334"/>
            <ac:graphicFrameMk id="199" creationId="{4E8A28B5-2572-41FC-A956-0328F5EEFA74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31.084" v="12308"/>
          <ac:graphicFrameMkLst>
            <pc:docMk/>
            <pc:sldMk cId="1868022673" sldId="7334"/>
            <ac:graphicFrameMk id="201" creationId="{CF60810C-3166-431C-9074-AEB48376FD82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0:36.981" v="12735"/>
          <ac:graphicFrameMkLst>
            <pc:docMk/>
            <pc:sldMk cId="1868022673" sldId="7334"/>
            <ac:graphicFrameMk id="203" creationId="{31380B49-046F-4AAF-89C6-0DBAF8892288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1:00.480" v="13261"/>
          <ac:graphicFrameMkLst>
            <pc:docMk/>
            <pc:sldMk cId="1868022673" sldId="7334"/>
            <ac:graphicFrameMk id="207" creationId="{FC627D89-7DCC-481D-AD46-96B1867E261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1:19.455" v="13524"/>
          <ac:graphicFrameMkLst>
            <pc:docMk/>
            <pc:sldMk cId="1868022673" sldId="7334"/>
            <ac:graphicFrameMk id="208" creationId="{F5A2A142-57E6-45F1-8E68-0AFC39A4D1B5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5:07.319" v="19864"/>
          <ac:graphicFrameMkLst>
            <pc:docMk/>
            <pc:sldMk cId="1868022673" sldId="7334"/>
            <ac:graphicFrameMk id="209" creationId="{961EC13B-72D7-44C2-9F54-F78F32160087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1:32.559" v="14079"/>
          <ac:graphicFrameMkLst>
            <pc:docMk/>
            <pc:sldMk cId="1868022673" sldId="7334"/>
            <ac:graphicFrameMk id="210" creationId="{558E776E-EFF1-4AD3-B943-E048381BD9C5}"/>
          </ac:graphicFrameMkLst>
        </pc:graphicFrameChg>
        <pc:graphicFrameChg chg="add del mod">
          <ac:chgData name="Ugo MANTEL" userId="2d5b7065-31bb-4181-a7f8-a73bf0c30211" providerId="ADAL" clId="{2A660E2D-CD4C-439C-955B-BDD952B126F0}" dt="2021-03-08T10:01:48.822" v="14603"/>
          <ac:graphicFrameMkLst>
            <pc:docMk/>
            <pc:sldMk cId="1868022673" sldId="7334"/>
            <ac:graphicFrameMk id="217" creationId="{F9FCC442-8568-4E1D-9E60-F8902605CE89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1:54.784" v="14842"/>
          <ac:graphicFrameMkLst>
            <pc:docMk/>
            <pc:sldMk cId="1868022673" sldId="7334"/>
            <ac:graphicFrameMk id="246" creationId="{E01F46E4-DD21-45B1-BBED-FDEB01D348D0}"/>
          </ac:graphicFrameMkLst>
        </pc:graphicFrameChg>
        <pc:graphicFrameChg chg="add del mod ord">
          <ac:chgData name="Ugo MANTEL" userId="2d5b7065-31bb-4181-a7f8-a73bf0c30211" providerId="ADAL" clId="{2A660E2D-CD4C-439C-955B-BDD952B126F0}" dt="2021-03-08T10:02:56.200" v="16065"/>
          <ac:graphicFrameMkLst>
            <pc:docMk/>
            <pc:sldMk cId="1868022673" sldId="7334"/>
            <ac:graphicFrameMk id="247" creationId="{DF7EBCEC-53DB-4129-8B2A-FC0548286894}"/>
          </ac:graphicFrameMkLst>
        </pc:graphicFrameChg>
        <pc:graphicFrameChg chg="del mod ord">
          <ac:chgData name="Ugo MANTEL" userId="2d5b7065-31bb-4181-a7f8-a73bf0c30211" providerId="ADAL" clId="{2A660E2D-CD4C-439C-955B-BDD952B126F0}" dt="2021-03-08T10:01:32.316" v="13872"/>
          <ac:graphicFrameMkLst>
            <pc:docMk/>
            <pc:sldMk cId="1868022673" sldId="7334"/>
            <ac:graphicFrameMk id="270" creationId="{5114F1FC-DEFF-427B-BE5D-F8C348001F67}"/>
          </ac:graphicFrameMkLst>
        </pc:graphicFrameChg>
        <pc:graphicFrameChg chg="del">
          <ac:chgData name="Ugo MANTEL" userId="2d5b7065-31bb-4181-a7f8-a73bf0c30211" providerId="ADAL" clId="{2A660E2D-CD4C-439C-955B-BDD952B126F0}" dt="2021-03-08T09:58:54.884" v="5022"/>
          <ac:graphicFrameMkLst>
            <pc:docMk/>
            <pc:sldMk cId="1868022673" sldId="7334"/>
            <ac:graphicFrameMk id="362" creationId="{26A40428-0637-4798-B382-737E52A2A329}"/>
          </ac:graphicFrameMkLst>
        </pc:graphicFrameChg>
        <pc:picChg chg="add mod ord">
          <ac:chgData name="Ugo MANTEL" userId="2d5b7065-31bb-4181-a7f8-a73bf0c30211" providerId="ADAL" clId="{2A660E2D-CD4C-439C-955B-BDD952B126F0}" dt="2021-03-08T13:55:04.001" v="31160"/>
          <ac:picMkLst>
            <pc:docMk/>
            <pc:sldMk cId="1868022673" sldId="7334"/>
            <ac:picMk id="101" creationId="{C18B524C-6004-4F21-B925-0E73B682DC9F}"/>
          </ac:picMkLst>
        </pc:picChg>
        <pc:picChg chg="add mod ord">
          <ac:chgData name="Ugo MANTEL" userId="2d5b7065-31bb-4181-a7f8-a73bf0c30211" providerId="ADAL" clId="{2A660E2D-CD4C-439C-955B-BDD952B126F0}" dt="2021-03-08T13:55:04.032" v="31218"/>
          <ac:picMkLst>
            <pc:docMk/>
            <pc:sldMk cId="1868022673" sldId="7334"/>
            <ac:picMk id="166" creationId="{4B44F360-C5B5-45A1-9361-FF6246E385FD}"/>
          </ac:picMkLst>
        </pc:picChg>
        <pc:picChg chg="mod ord">
          <ac:chgData name="Ugo MANTEL" userId="2d5b7065-31bb-4181-a7f8-a73bf0c30211" providerId="ADAL" clId="{2A660E2D-CD4C-439C-955B-BDD952B126F0}" dt="2021-03-08T13:55:03.997" v="31152"/>
          <ac:picMkLst>
            <pc:docMk/>
            <pc:sldMk cId="1868022673" sldId="7334"/>
            <ac:picMk id="368" creationId="{268BD060-9FCB-4D62-ADC6-651D153060D3}"/>
          </ac:picMkLst>
        </pc:picChg>
        <pc:picChg chg="mod ord">
          <ac:chgData name="Ugo MANTEL" userId="2d5b7065-31bb-4181-a7f8-a73bf0c30211" providerId="ADAL" clId="{2A660E2D-CD4C-439C-955B-BDD952B126F0}" dt="2021-03-08T13:55:03.999" v="31154"/>
          <ac:picMkLst>
            <pc:docMk/>
            <pc:sldMk cId="1868022673" sldId="7334"/>
            <ac:picMk id="369" creationId="{633B5CDB-D3DE-4162-B9EF-7BD317CCA802}"/>
          </ac:picMkLst>
        </pc:picChg>
        <pc:picChg chg="mod ord">
          <ac:chgData name="Ugo MANTEL" userId="2d5b7065-31bb-4181-a7f8-a73bf0c30211" providerId="ADAL" clId="{2A660E2D-CD4C-439C-955B-BDD952B126F0}" dt="2021-03-08T13:55:03.999" v="31156"/>
          <ac:picMkLst>
            <pc:docMk/>
            <pc:sldMk cId="1868022673" sldId="7334"/>
            <ac:picMk id="370" creationId="{FFD71595-106D-48B7-B1D3-F72940A76F46}"/>
          </ac:picMkLst>
        </pc:picChg>
        <pc:picChg chg="del">
          <ac:chgData name="Ugo MANTEL" userId="2d5b7065-31bb-4181-a7f8-a73bf0c30211" providerId="ADAL" clId="{2A660E2D-CD4C-439C-955B-BDD952B126F0}" dt="2021-03-08T09:34:07.996" v="3658" actId="478"/>
          <ac:picMkLst>
            <pc:docMk/>
            <pc:sldMk cId="1868022673" sldId="7334"/>
            <ac:picMk id="377" creationId="{4B951238-55D0-4FA6-A942-43204ADE6DC8}"/>
          </ac:picMkLst>
        </pc:picChg>
        <pc:picChg chg="del">
          <ac:chgData name="Ugo MANTEL" userId="2d5b7065-31bb-4181-a7f8-a73bf0c30211" providerId="ADAL" clId="{2A660E2D-CD4C-439C-955B-BDD952B126F0}" dt="2021-03-08T09:34:07.996" v="3658" actId="478"/>
          <ac:picMkLst>
            <pc:docMk/>
            <pc:sldMk cId="1868022673" sldId="7334"/>
            <ac:picMk id="378" creationId="{188E78B5-09E6-4A1F-A43A-842706C12454}"/>
          </ac:picMkLst>
        </pc:picChg>
        <pc:picChg chg="del">
          <ac:chgData name="Ugo MANTEL" userId="2d5b7065-31bb-4181-a7f8-a73bf0c30211" providerId="ADAL" clId="{2A660E2D-CD4C-439C-955B-BDD952B126F0}" dt="2021-03-08T09:34:07.996" v="3658" actId="478"/>
          <ac:picMkLst>
            <pc:docMk/>
            <pc:sldMk cId="1868022673" sldId="7334"/>
            <ac:picMk id="379" creationId="{9542EFEE-DF68-491E-81FD-BE2B60ADA303}"/>
          </ac:picMkLst>
        </pc:picChg>
        <pc:cxnChg chg="add del mod ord">
          <ac:chgData name="Ugo MANTEL" userId="2d5b7065-31bb-4181-a7f8-a73bf0c30211" providerId="ADAL" clId="{2A660E2D-CD4C-439C-955B-BDD952B126F0}" dt="2021-03-08T10:03:47.735" v="18096"/>
          <ac:cxnSpMkLst>
            <pc:docMk/>
            <pc:sldMk cId="1868022673" sldId="7334"/>
            <ac:cxnSpMk id="5" creationId="{4C64ADCD-CCBB-437D-8786-93C0EB9B0CD9}"/>
          </ac:cxnSpMkLst>
        </pc:cxnChg>
        <pc:cxnChg chg="add del mod ord">
          <ac:chgData name="Ugo MANTEL" userId="2d5b7065-31bb-4181-a7f8-a73bf0c30211" providerId="ADAL" clId="{2A660E2D-CD4C-439C-955B-BDD952B126F0}" dt="2021-03-08T09:59:09.775" v="6270"/>
          <ac:cxnSpMkLst>
            <pc:docMk/>
            <pc:sldMk cId="1868022673" sldId="7334"/>
            <ac:cxnSpMk id="5" creationId="{6D80FAB1-3D88-4D70-83FA-00B3F40AD598}"/>
          </ac:cxnSpMkLst>
        </pc:cxnChg>
        <pc:cxnChg chg="add del mod ord">
          <ac:chgData name="Ugo MANTEL" userId="2d5b7065-31bb-4181-a7f8-a73bf0c30211" providerId="ADAL" clId="{2A660E2D-CD4C-439C-955B-BDD952B126F0}" dt="2021-03-08T10:01:00.016" v="12971"/>
          <ac:cxnSpMkLst>
            <pc:docMk/>
            <pc:sldMk cId="1868022673" sldId="7334"/>
            <ac:cxnSpMk id="6" creationId="{2EF5C996-3CF4-4842-BD23-15CA46BDDD6B}"/>
          </ac:cxnSpMkLst>
        </pc:cxnChg>
        <pc:cxnChg chg="add del mod ord">
          <ac:chgData name="Ugo MANTEL" userId="2d5b7065-31bb-4181-a7f8-a73bf0c30211" providerId="ADAL" clId="{2A660E2D-CD4C-439C-955B-BDD952B126F0}" dt="2021-03-08T10:03:41.830" v="17521"/>
          <ac:cxnSpMkLst>
            <pc:docMk/>
            <pc:sldMk cId="1868022673" sldId="7334"/>
            <ac:cxnSpMk id="6" creationId="{691F24EF-D045-42FD-AED6-8E7C2F8D9732}"/>
          </ac:cxnSpMkLst>
        </pc:cxnChg>
        <pc:cxnChg chg="add del mod ord">
          <ac:chgData name="Ugo MANTEL" userId="2d5b7065-31bb-4181-a7f8-a73bf0c30211" providerId="ADAL" clId="{2A660E2D-CD4C-439C-955B-BDD952B126F0}" dt="2021-03-08T10:01:00.009" v="12949"/>
          <ac:cxnSpMkLst>
            <pc:docMk/>
            <pc:sldMk cId="1868022673" sldId="7334"/>
            <ac:cxnSpMk id="7" creationId="{7F52E45D-9EB9-44FA-BA3B-FBAB799DBBA0}"/>
          </ac:cxnSpMkLst>
        </pc:cxnChg>
        <pc:cxnChg chg="add del mod ord">
          <ac:chgData name="Ugo MANTEL" userId="2d5b7065-31bb-4181-a7f8-a73bf0c30211" providerId="ADAL" clId="{2A660E2D-CD4C-439C-955B-BDD952B126F0}" dt="2021-03-08T10:03:41.774" v="17489"/>
          <ac:cxnSpMkLst>
            <pc:docMk/>
            <pc:sldMk cId="1868022673" sldId="7334"/>
            <ac:cxnSpMk id="7" creationId="{E418EE36-3FD7-45E5-8628-E8AE7902D772}"/>
          </ac:cxnSpMkLst>
        </pc:cxnChg>
        <pc:cxnChg chg="add del mod ord">
          <ac:chgData name="Ugo MANTEL" userId="2d5b7065-31bb-4181-a7f8-a73bf0c30211" providerId="ADAL" clId="{2A660E2D-CD4C-439C-955B-BDD952B126F0}" dt="2021-03-08T10:01:00.016" v="12976"/>
          <ac:cxnSpMkLst>
            <pc:docMk/>
            <pc:sldMk cId="1868022673" sldId="7334"/>
            <ac:cxnSpMk id="13" creationId="{18C5D99B-2DF3-4349-8629-F03533C56D8C}"/>
          </ac:cxnSpMkLst>
        </pc:cxnChg>
        <pc:cxnChg chg="add del mod ord">
          <ac:chgData name="Ugo MANTEL" userId="2d5b7065-31bb-4181-a7f8-a73bf0c30211" providerId="ADAL" clId="{2A660E2D-CD4C-439C-955B-BDD952B126F0}" dt="2021-03-08T10:03:12.891" v="16914"/>
          <ac:cxnSpMkLst>
            <pc:docMk/>
            <pc:sldMk cId="1868022673" sldId="7334"/>
            <ac:cxnSpMk id="13" creationId="{E56148D9-309A-483E-AD66-CE5283C1F42A}"/>
          </ac:cxnSpMkLst>
        </pc:cxnChg>
        <pc:cxnChg chg="add del mod ord">
          <ac:chgData name="Ugo MANTEL" userId="2d5b7065-31bb-4181-a7f8-a73bf0c30211" providerId="ADAL" clId="{2A660E2D-CD4C-439C-955B-BDD952B126F0}" dt="2021-03-08T10:03:41.830" v="17526"/>
          <ac:cxnSpMkLst>
            <pc:docMk/>
            <pc:sldMk cId="1868022673" sldId="7334"/>
            <ac:cxnSpMk id="14" creationId="{14968988-E614-488C-A1BD-14605433E4FC}"/>
          </ac:cxnSpMkLst>
        </pc:cxnChg>
        <pc:cxnChg chg="add del mod ord">
          <ac:chgData name="Ugo MANTEL" userId="2d5b7065-31bb-4181-a7f8-a73bf0c30211" providerId="ADAL" clId="{2A660E2D-CD4C-439C-955B-BDD952B126F0}" dt="2021-03-08T09:59:59.709" v="9554"/>
          <ac:cxnSpMkLst>
            <pc:docMk/>
            <pc:sldMk cId="1868022673" sldId="7334"/>
            <ac:cxnSpMk id="14" creationId="{D40666A9-83DB-4469-BA68-9763C1103657}"/>
          </ac:cxnSpMkLst>
        </pc:cxnChg>
        <pc:cxnChg chg="add del mod ord">
          <ac:chgData name="Ugo MANTEL" userId="2d5b7065-31bb-4181-a7f8-a73bf0c30211" providerId="ADAL" clId="{2A660E2D-CD4C-439C-955B-BDD952B126F0}" dt="2021-03-08T10:01:00.033" v="12987"/>
          <ac:cxnSpMkLst>
            <pc:docMk/>
            <pc:sldMk cId="1868022673" sldId="7334"/>
            <ac:cxnSpMk id="15" creationId="{55AFB9CB-D460-408B-BE4F-CBE80B5249A4}"/>
          </ac:cxnSpMkLst>
        </pc:cxnChg>
        <pc:cxnChg chg="add del mod ord">
          <ac:chgData name="Ugo MANTEL" userId="2d5b7065-31bb-4181-a7f8-a73bf0c30211" providerId="ADAL" clId="{2A660E2D-CD4C-439C-955B-BDD952B126F0}" dt="2021-03-08T10:03:09.904" v="16459"/>
          <ac:cxnSpMkLst>
            <pc:docMk/>
            <pc:sldMk cId="1868022673" sldId="7334"/>
            <ac:cxnSpMk id="15" creationId="{D87634E2-163F-4699-AC75-C9E4B1B8C1EE}"/>
          </ac:cxnSpMkLst>
        </pc:cxnChg>
        <pc:cxnChg chg="add del mod ord">
          <ac:chgData name="Ugo MANTEL" userId="2d5b7065-31bb-4181-a7f8-a73bf0c30211" providerId="ADAL" clId="{2A660E2D-CD4C-439C-955B-BDD952B126F0}" dt="2021-03-08T09:59:31.020" v="8258"/>
          <ac:cxnSpMkLst>
            <pc:docMk/>
            <pc:sldMk cId="1868022673" sldId="7334"/>
            <ac:cxnSpMk id="16" creationId="{7C511735-D526-44B5-B983-A95E129DDD0D}"/>
          </ac:cxnSpMkLst>
        </pc:cxnChg>
        <pc:cxnChg chg="add del mod ord">
          <ac:chgData name="Ugo MANTEL" userId="2d5b7065-31bb-4181-a7f8-a73bf0c30211" providerId="ADAL" clId="{2A660E2D-CD4C-439C-955B-BDD952B126F0}" dt="2021-03-08T10:03:41.830" v="17529"/>
          <ac:cxnSpMkLst>
            <pc:docMk/>
            <pc:sldMk cId="1868022673" sldId="7334"/>
            <ac:cxnSpMk id="16" creationId="{839F364A-09F8-4DBF-9BE3-F0A347407060}"/>
          </ac:cxnSpMkLst>
        </pc:cxnChg>
        <pc:cxnChg chg="add del mod ord">
          <ac:chgData name="Ugo MANTEL" userId="2d5b7065-31bb-4181-a7f8-a73bf0c30211" providerId="ADAL" clId="{2A660E2D-CD4C-439C-955B-BDD952B126F0}" dt="2021-03-08T10:03:41.811" v="17510"/>
          <ac:cxnSpMkLst>
            <pc:docMk/>
            <pc:sldMk cId="1868022673" sldId="7334"/>
            <ac:cxnSpMk id="17" creationId="{CFBA3604-BCEE-4CD9-B3F4-DD67050C4B3C}"/>
          </ac:cxnSpMkLst>
        </pc:cxnChg>
        <pc:cxnChg chg="add del mod ord">
          <ac:chgData name="Ugo MANTEL" userId="2d5b7065-31bb-4181-a7f8-a73bf0c30211" providerId="ADAL" clId="{2A660E2D-CD4C-439C-955B-BDD952B126F0}" dt="2021-03-08T10:01:00.016" v="12965"/>
          <ac:cxnSpMkLst>
            <pc:docMk/>
            <pc:sldMk cId="1868022673" sldId="7334"/>
            <ac:cxnSpMk id="17" creationId="{E9474179-CF22-4BDD-9BAF-6B385B3A7A54}"/>
          </ac:cxnSpMkLst>
        </pc:cxnChg>
        <pc:cxnChg chg="add del mod ord">
          <ac:chgData name="Ugo MANTEL" userId="2d5b7065-31bb-4181-a7f8-a73bf0c30211" providerId="ADAL" clId="{2A660E2D-CD4C-439C-955B-BDD952B126F0}" dt="2021-03-08T10:00:00.136" v="9804"/>
          <ac:cxnSpMkLst>
            <pc:docMk/>
            <pc:sldMk cId="1868022673" sldId="7334"/>
            <ac:cxnSpMk id="18" creationId="{112F8491-8AFE-40DE-8A87-14288D96FB6A}"/>
          </ac:cxnSpMkLst>
        </pc:cxnChg>
        <pc:cxnChg chg="add del mod ord">
          <ac:chgData name="Ugo MANTEL" userId="2d5b7065-31bb-4181-a7f8-a73bf0c30211" providerId="ADAL" clId="{2A660E2D-CD4C-439C-955B-BDD952B126F0}" dt="2021-03-08T10:03:42.343" v="17762"/>
          <ac:cxnSpMkLst>
            <pc:docMk/>
            <pc:sldMk cId="1868022673" sldId="7334"/>
            <ac:cxnSpMk id="18" creationId="{2FB979F4-ACA0-4699-B01E-4731D5008D41}"/>
          </ac:cxnSpMkLst>
        </pc:cxnChg>
        <pc:cxnChg chg="add del mod ord">
          <ac:chgData name="Ugo MANTEL" userId="2d5b7065-31bb-4181-a7f8-a73bf0c30211" providerId="ADAL" clId="{2A660E2D-CD4C-439C-955B-BDD952B126F0}" dt="2021-03-08T10:03:41.814" v="17513"/>
          <ac:cxnSpMkLst>
            <pc:docMk/>
            <pc:sldMk cId="1868022673" sldId="7334"/>
            <ac:cxnSpMk id="19" creationId="{738E6EAA-329F-43DF-96B9-DEC66869CC61}"/>
          </ac:cxnSpMkLst>
        </pc:cxnChg>
        <pc:cxnChg chg="add del mod ord">
          <ac:chgData name="Ugo MANTEL" userId="2d5b7065-31bb-4181-a7f8-a73bf0c30211" providerId="ADAL" clId="{2A660E2D-CD4C-439C-955B-BDD952B126F0}" dt="2021-03-08T10:01:00.016" v="12968"/>
          <ac:cxnSpMkLst>
            <pc:docMk/>
            <pc:sldMk cId="1868022673" sldId="7334"/>
            <ac:cxnSpMk id="19" creationId="{C68ACECE-E198-44B1-9E88-AD394787C88F}"/>
          </ac:cxnSpMkLst>
        </pc:cxnChg>
        <pc:cxnChg chg="add del mod ord">
          <ac:chgData name="Ugo MANTEL" userId="2d5b7065-31bb-4181-a7f8-a73bf0c30211" providerId="ADAL" clId="{2A660E2D-CD4C-439C-955B-BDD952B126F0}" dt="2021-03-08T10:01:00.016" v="12956"/>
          <ac:cxnSpMkLst>
            <pc:docMk/>
            <pc:sldMk cId="1868022673" sldId="7334"/>
            <ac:cxnSpMk id="20" creationId="{52970A52-468A-4E71-B94C-F53FE2AFED0F}"/>
          </ac:cxnSpMkLst>
        </pc:cxnChg>
        <pc:cxnChg chg="add del mod ord">
          <ac:chgData name="Ugo MANTEL" userId="2d5b7065-31bb-4181-a7f8-a73bf0c30211" providerId="ADAL" clId="{2A660E2D-CD4C-439C-955B-BDD952B126F0}" dt="2021-03-08T10:03:41.790" v="17496"/>
          <ac:cxnSpMkLst>
            <pc:docMk/>
            <pc:sldMk cId="1868022673" sldId="7334"/>
            <ac:cxnSpMk id="20" creationId="{F4828DDA-BD5E-49B2-B05F-6167162670D1}"/>
          </ac:cxnSpMkLst>
        </pc:cxnChg>
        <pc:cxnChg chg="add del mod ord">
          <ac:chgData name="Ugo MANTEL" userId="2d5b7065-31bb-4181-a7f8-a73bf0c30211" providerId="ADAL" clId="{2A660E2D-CD4C-439C-955B-BDD952B126F0}" dt="2021-03-08T09:59:30.613" v="8012"/>
          <ac:cxnSpMkLst>
            <pc:docMk/>
            <pc:sldMk cId="1868022673" sldId="7334"/>
            <ac:cxnSpMk id="24" creationId="{45CBFE3D-7061-4673-8196-5CE2466030E3}"/>
          </ac:cxnSpMkLst>
        </pc:cxnChg>
        <pc:cxnChg chg="add del mod ord">
          <ac:chgData name="Ugo MANTEL" userId="2d5b7065-31bb-4181-a7f8-a73bf0c30211" providerId="ADAL" clId="{2A660E2D-CD4C-439C-955B-BDD952B126F0}" dt="2021-03-08T10:03:12.937" v="16964"/>
          <ac:cxnSpMkLst>
            <pc:docMk/>
            <pc:sldMk cId="1868022673" sldId="7334"/>
            <ac:cxnSpMk id="24" creationId="{75EFAC4A-CFBF-47C5-A7D4-DBFF7C24002C}"/>
          </ac:cxnSpMkLst>
        </pc:cxnChg>
        <pc:cxnChg chg="del mod ord">
          <ac:chgData name="Ugo MANTEL" userId="2d5b7065-31bb-4181-a7f8-a73bf0c30211" providerId="ADAL" clId="{2A660E2D-CD4C-439C-955B-BDD952B126F0}" dt="2021-03-08T10:05:36.286" v="20484" actId="478"/>
          <ac:cxnSpMkLst>
            <pc:docMk/>
            <pc:sldMk cId="1868022673" sldId="7334"/>
            <ac:cxnSpMk id="30" creationId="{87170DDA-478F-4AAA-820D-FECB02AEA468}"/>
          </ac:cxnSpMkLst>
        </pc:cxnChg>
        <pc:cxnChg chg="add del mod ord">
          <ac:chgData name="Ugo MANTEL" userId="2d5b7065-31bb-4181-a7f8-a73bf0c30211" providerId="ADAL" clId="{2A660E2D-CD4C-439C-955B-BDD952B126F0}" dt="2021-03-08T10:03:42.323" v="17749"/>
          <ac:cxnSpMkLst>
            <pc:docMk/>
            <pc:sldMk cId="1868022673" sldId="7334"/>
            <ac:cxnSpMk id="34" creationId="{00A927D1-4CF4-42B8-9079-E1A28AE4A113}"/>
          </ac:cxnSpMkLst>
        </pc:cxnChg>
        <pc:cxnChg chg="add del mod ord">
          <ac:chgData name="Ugo MANTEL" userId="2d5b7065-31bb-4181-a7f8-a73bf0c30211" providerId="ADAL" clId="{2A660E2D-CD4C-439C-955B-BDD952B126F0}" dt="2021-03-08T09:59:09.960" v="6490"/>
          <ac:cxnSpMkLst>
            <pc:docMk/>
            <pc:sldMk cId="1868022673" sldId="7334"/>
            <ac:cxnSpMk id="34" creationId="{33C859D2-36B5-43C1-9214-8FAF73F79570}"/>
          </ac:cxnSpMkLst>
        </pc:cxnChg>
        <pc:cxnChg chg="add del mod ord">
          <ac:chgData name="Ugo MANTEL" userId="2d5b7065-31bb-4181-a7f8-a73bf0c30211" providerId="ADAL" clId="{2A660E2D-CD4C-439C-955B-BDD952B126F0}" dt="2021-03-08T10:01:00.353" v="13127"/>
          <ac:cxnSpMkLst>
            <pc:docMk/>
            <pc:sldMk cId="1868022673" sldId="7334"/>
            <ac:cxnSpMk id="36" creationId="{89B87BA8-0D37-4094-ACB1-3992481938D3}"/>
          </ac:cxnSpMkLst>
        </pc:cxnChg>
        <pc:cxnChg chg="add del mod ord">
          <ac:chgData name="Ugo MANTEL" userId="2d5b7065-31bb-4181-a7f8-a73bf0c30211" providerId="ADAL" clId="{2A660E2D-CD4C-439C-955B-BDD952B126F0}" dt="2021-03-08T09:59:16.473" v="6913"/>
          <ac:cxnSpMkLst>
            <pc:docMk/>
            <pc:sldMk cId="1868022673" sldId="7334"/>
            <ac:cxnSpMk id="37" creationId="{05B70B24-9DA8-49AF-A7FD-995C9FA6F41F}"/>
          </ac:cxnSpMkLst>
        </pc:cxnChg>
        <pc:cxnChg chg="add mod ord">
          <ac:chgData name="Ugo MANTEL" userId="2d5b7065-31bb-4181-a7f8-a73bf0c30211" providerId="ADAL" clId="{2A660E2D-CD4C-439C-955B-BDD952B126F0}" dt="2021-03-08T13:55:03.970" v="31105"/>
          <ac:cxnSpMkLst>
            <pc:docMk/>
            <pc:sldMk cId="1868022673" sldId="7334"/>
            <ac:cxnSpMk id="38" creationId="{264B243B-87CE-4BE8-B6D7-B638D8BE092B}"/>
          </ac:cxnSpMkLst>
        </pc:cxnChg>
        <pc:cxnChg chg="add del mod ord">
          <ac:chgData name="Ugo MANTEL" userId="2d5b7065-31bb-4181-a7f8-a73bf0c30211" providerId="ADAL" clId="{2A660E2D-CD4C-439C-955B-BDD952B126F0}" dt="2021-03-08T09:59:59.728" v="9568"/>
          <ac:cxnSpMkLst>
            <pc:docMk/>
            <pc:sldMk cId="1868022673" sldId="7334"/>
            <ac:cxnSpMk id="44" creationId="{5DE5F506-B6E8-4A5F-88BA-1B165403A705}"/>
          </ac:cxnSpMkLst>
        </pc:cxnChg>
        <pc:cxnChg chg="add del mod ord">
          <ac:chgData name="Ugo MANTEL" userId="2d5b7065-31bb-4181-a7f8-a73bf0c30211" providerId="ADAL" clId="{2A660E2D-CD4C-439C-955B-BDD952B126F0}" dt="2021-03-08T10:01:00.402" v="13170"/>
          <ac:cxnSpMkLst>
            <pc:docMk/>
            <pc:sldMk cId="1868022673" sldId="7334"/>
            <ac:cxnSpMk id="52" creationId="{BD2AB036-422F-4582-83E1-A7F78D6D17BF}"/>
          </ac:cxnSpMkLst>
        </pc:cxnChg>
        <pc:cxnChg chg="add del mod ord">
          <ac:chgData name="Ugo MANTEL" userId="2d5b7065-31bb-4181-a7f8-a73bf0c30211" providerId="ADAL" clId="{2A660E2D-CD4C-439C-955B-BDD952B126F0}" dt="2021-03-08T10:01:00.032" v="12979"/>
          <ac:cxnSpMkLst>
            <pc:docMk/>
            <pc:sldMk cId="1868022673" sldId="7334"/>
            <ac:cxnSpMk id="56" creationId="{1A410146-625A-46A3-86A9-D1689BF22B38}"/>
          </ac:cxnSpMkLst>
        </pc:cxnChg>
        <pc:cxnChg chg="add del mod ord">
          <ac:chgData name="Ugo MANTEL" userId="2d5b7065-31bb-4181-a7f8-a73bf0c30211" providerId="ADAL" clId="{2A660E2D-CD4C-439C-955B-BDD952B126F0}" dt="2021-03-08T10:01:00.033" v="12990"/>
          <ac:cxnSpMkLst>
            <pc:docMk/>
            <pc:sldMk cId="1868022673" sldId="7334"/>
            <ac:cxnSpMk id="59" creationId="{BB912518-1792-4E17-9E42-DEFBA4375EDC}"/>
          </ac:cxnSpMkLst>
        </pc:cxnChg>
        <pc:cxnChg chg="del mod ord">
          <ac:chgData name="Ugo MANTEL" userId="2d5b7065-31bb-4181-a7f8-a73bf0c30211" providerId="ADAL" clId="{2A660E2D-CD4C-439C-955B-BDD952B126F0}" dt="2021-03-08T09:59:16.629" v="7091"/>
          <ac:cxnSpMkLst>
            <pc:docMk/>
            <pc:sldMk cId="1868022673" sldId="7334"/>
            <ac:cxnSpMk id="107" creationId="{F9D526AB-3471-4F86-B3A2-90C5348CD531}"/>
          </ac:cxnSpMkLst>
        </pc:cxnChg>
        <pc:cxnChg chg="del mod ord">
          <ac:chgData name="Ugo MANTEL" userId="2d5b7065-31bb-4181-a7f8-a73bf0c30211" providerId="ADAL" clId="{2A660E2D-CD4C-439C-955B-BDD952B126F0}" dt="2021-03-08T10:01:32.532" v="14047"/>
          <ac:cxnSpMkLst>
            <pc:docMk/>
            <pc:sldMk cId="1868022673" sldId="7334"/>
            <ac:cxnSpMk id="147" creationId="{FF618154-BF79-45DC-A65C-1552CCABE6DA}"/>
          </ac:cxnSpMkLst>
        </pc:cxnChg>
        <pc:cxnChg chg="del mod ord">
          <ac:chgData name="Ugo MANTEL" userId="2d5b7065-31bb-4181-a7f8-a73bf0c30211" providerId="ADAL" clId="{2A660E2D-CD4C-439C-955B-BDD952B126F0}" dt="2021-03-08T10:01:32.546" v="14063"/>
          <ac:cxnSpMkLst>
            <pc:docMk/>
            <pc:sldMk cId="1868022673" sldId="7334"/>
            <ac:cxnSpMk id="148" creationId="{FDE428FE-F16B-43EE-8CE7-6D4689515B47}"/>
          </ac:cxnSpMkLst>
        </pc:cxnChg>
        <pc:cxnChg chg="del mod ord">
          <ac:chgData name="Ugo MANTEL" userId="2d5b7065-31bb-4181-a7f8-a73bf0c30211" providerId="ADAL" clId="{2A660E2D-CD4C-439C-955B-BDD952B126F0}" dt="2021-03-08T10:01:32.547" v="14068"/>
          <ac:cxnSpMkLst>
            <pc:docMk/>
            <pc:sldMk cId="1868022673" sldId="7334"/>
            <ac:cxnSpMk id="149" creationId="{252CAB78-7322-48A8-98FF-411A2DAF1331}"/>
          </ac:cxnSpMkLst>
        </pc:cxnChg>
        <pc:cxnChg chg="del mod ord">
          <ac:chgData name="Ugo MANTEL" userId="2d5b7065-31bb-4181-a7f8-a73bf0c30211" providerId="ADAL" clId="{2A660E2D-CD4C-439C-955B-BDD952B126F0}" dt="2021-03-08T10:01:32.527" v="14037"/>
          <ac:cxnSpMkLst>
            <pc:docMk/>
            <pc:sldMk cId="1868022673" sldId="7334"/>
            <ac:cxnSpMk id="150" creationId="{414324AB-672B-4E59-90FC-8FDD0E63742D}"/>
          </ac:cxnSpMkLst>
        </pc:cxnChg>
        <pc:cxnChg chg="del mod ord">
          <ac:chgData name="Ugo MANTEL" userId="2d5b7065-31bb-4181-a7f8-a73bf0c30211" providerId="ADAL" clId="{2A660E2D-CD4C-439C-955B-BDD952B126F0}" dt="2021-03-08T10:01:32.532" v="14058"/>
          <ac:cxnSpMkLst>
            <pc:docMk/>
            <pc:sldMk cId="1868022673" sldId="7334"/>
            <ac:cxnSpMk id="151" creationId="{8BC32E13-4C3B-4F85-BF6B-9C35C090CE9B}"/>
          </ac:cxnSpMkLst>
        </pc:cxnChg>
        <pc:cxnChg chg="del mod ord">
          <ac:chgData name="Ugo MANTEL" userId="2d5b7065-31bb-4181-a7f8-a73bf0c30211" providerId="ADAL" clId="{2A660E2D-CD4C-439C-955B-BDD952B126F0}" dt="2021-03-08T10:01:32.532" v="14052"/>
          <ac:cxnSpMkLst>
            <pc:docMk/>
            <pc:sldMk cId="1868022673" sldId="7334"/>
            <ac:cxnSpMk id="152" creationId="{94E8A521-F49C-4FD6-9D2E-A8901F7D7E4A}"/>
          </ac:cxnSpMkLst>
        </pc:cxnChg>
        <pc:cxnChg chg="del mod ord">
          <ac:chgData name="Ugo MANTEL" userId="2d5b7065-31bb-4181-a7f8-a73bf0c30211" providerId="ADAL" clId="{2A660E2D-CD4C-439C-955B-BDD952B126F0}" dt="2021-03-08T10:01:32.532" v="14043"/>
          <ac:cxnSpMkLst>
            <pc:docMk/>
            <pc:sldMk cId="1868022673" sldId="7334"/>
            <ac:cxnSpMk id="153" creationId="{B7F4C317-CACC-45E0-A1D9-B06436081CCF}"/>
          </ac:cxnSpMkLst>
        </pc:cxnChg>
        <pc:cxnChg chg="add mod ord">
          <ac:chgData name="Ugo MANTEL" userId="2d5b7065-31bb-4181-a7f8-a73bf0c30211" providerId="ADAL" clId="{2A660E2D-CD4C-439C-955B-BDD952B126F0}" dt="2021-03-08T13:55:04.029" v="31212"/>
          <ac:cxnSpMkLst>
            <pc:docMk/>
            <pc:sldMk cId="1868022673" sldId="7334"/>
            <ac:cxnSpMk id="157" creationId="{62E7C639-A7EF-48FE-A1F8-620344B96524}"/>
          </ac:cxnSpMkLst>
        </pc:cxnChg>
        <pc:cxnChg chg="add del mod ord">
          <ac:chgData name="Ugo MANTEL" userId="2d5b7065-31bb-4181-a7f8-a73bf0c30211" providerId="ADAL" clId="{2A660E2D-CD4C-439C-955B-BDD952B126F0}" dt="2021-03-08T13:57:07.045" v="31225" actId="478"/>
          <ac:cxnSpMkLst>
            <pc:docMk/>
            <pc:sldMk cId="1868022673" sldId="7334"/>
            <ac:cxnSpMk id="160" creationId="{2436D67F-FC2C-4FB0-8620-52C4BF6F94B7}"/>
          </ac:cxnSpMkLst>
        </pc:cxnChg>
        <pc:cxnChg chg="del mod ord">
          <ac:chgData name="Ugo MANTEL" userId="2d5b7065-31bb-4181-a7f8-a73bf0c30211" providerId="ADAL" clId="{2A660E2D-CD4C-439C-955B-BDD952B126F0}" dt="2021-03-08T10:01:39.063" v="14083" actId="478"/>
          <ac:cxnSpMkLst>
            <pc:docMk/>
            <pc:sldMk cId="1868022673" sldId="7334"/>
            <ac:cxnSpMk id="184" creationId="{84B76F94-D778-48C5-8FC9-6D5C2D8CCE4B}"/>
          </ac:cxnSpMkLst>
        </pc:cxnChg>
        <pc:cxnChg chg="add mod ord">
          <ac:chgData name="Ugo MANTEL" userId="2d5b7065-31bb-4181-a7f8-a73bf0c30211" providerId="ADAL" clId="{2A660E2D-CD4C-439C-955B-BDD952B126F0}" dt="2021-03-08T13:55:04.004" v="31168"/>
          <ac:cxnSpMkLst>
            <pc:docMk/>
            <pc:sldMk cId="1868022673" sldId="7334"/>
            <ac:cxnSpMk id="211" creationId="{2143D20F-067E-40D9-A79B-80C1F2BCA7B9}"/>
          </ac:cxnSpMkLst>
        </pc:cxnChg>
        <pc:cxnChg chg="add mod ord">
          <ac:chgData name="Ugo MANTEL" userId="2d5b7065-31bb-4181-a7f8-a73bf0c30211" providerId="ADAL" clId="{2A660E2D-CD4C-439C-955B-BDD952B126F0}" dt="2021-03-08T13:55:04.001" v="31162"/>
          <ac:cxnSpMkLst>
            <pc:docMk/>
            <pc:sldMk cId="1868022673" sldId="7334"/>
            <ac:cxnSpMk id="212" creationId="{376F706B-03FC-4C35-8D14-C9A81D605BB1}"/>
          </ac:cxnSpMkLst>
        </pc:cxnChg>
        <pc:cxnChg chg="add mod ord">
          <ac:chgData name="Ugo MANTEL" userId="2d5b7065-31bb-4181-a7f8-a73bf0c30211" providerId="ADAL" clId="{2A660E2D-CD4C-439C-955B-BDD952B126F0}" dt="2021-03-08T13:55:04.003" v="31166"/>
          <ac:cxnSpMkLst>
            <pc:docMk/>
            <pc:sldMk cId="1868022673" sldId="7334"/>
            <ac:cxnSpMk id="213" creationId="{FD896AA6-4881-4426-9CBB-E4DCD5069AAF}"/>
          </ac:cxnSpMkLst>
        </pc:cxnChg>
        <pc:cxnChg chg="add mod ord">
          <ac:chgData name="Ugo MANTEL" userId="2d5b7065-31bb-4181-a7f8-a73bf0c30211" providerId="ADAL" clId="{2A660E2D-CD4C-439C-955B-BDD952B126F0}" dt="2021-03-08T13:55:04.005" v="31170"/>
          <ac:cxnSpMkLst>
            <pc:docMk/>
            <pc:sldMk cId="1868022673" sldId="7334"/>
            <ac:cxnSpMk id="214" creationId="{85ABBFCF-F0F9-4646-BFB7-0CC627430CBC}"/>
          </ac:cxnSpMkLst>
        </pc:cxnChg>
        <pc:cxnChg chg="add mod ord">
          <ac:chgData name="Ugo MANTEL" userId="2d5b7065-31bb-4181-a7f8-a73bf0c30211" providerId="ADAL" clId="{2A660E2D-CD4C-439C-955B-BDD952B126F0}" dt="2021-03-08T13:55:04.003" v="31164"/>
          <ac:cxnSpMkLst>
            <pc:docMk/>
            <pc:sldMk cId="1868022673" sldId="7334"/>
            <ac:cxnSpMk id="215" creationId="{7B5AD3C6-74EF-4226-B594-AFD4038E5C34}"/>
          </ac:cxnSpMkLst>
        </pc:cxnChg>
        <pc:cxnChg chg="mod ord">
          <ac:chgData name="Ugo MANTEL" userId="2d5b7065-31bb-4181-a7f8-a73bf0c30211" providerId="ADAL" clId="{2A660E2D-CD4C-439C-955B-BDD952B126F0}" dt="2021-03-08T13:55:03.971" v="31107"/>
          <ac:cxnSpMkLst>
            <pc:docMk/>
            <pc:sldMk cId="1868022673" sldId="7334"/>
            <ac:cxnSpMk id="234" creationId="{119CBB82-A684-4CF6-983F-C33A85DC8643}"/>
          </ac:cxnSpMkLst>
        </pc:cxnChg>
        <pc:cxnChg chg="mod ord">
          <ac:chgData name="Ugo MANTEL" userId="2d5b7065-31bb-4181-a7f8-a73bf0c30211" providerId="ADAL" clId="{2A660E2D-CD4C-439C-955B-BDD952B126F0}" dt="2021-03-08T13:55:03.972" v="31109"/>
          <ac:cxnSpMkLst>
            <pc:docMk/>
            <pc:sldMk cId="1868022673" sldId="7334"/>
            <ac:cxnSpMk id="235" creationId="{260972ED-B485-45C8-8D3F-73EFA46817A5}"/>
          </ac:cxnSpMkLst>
        </pc:cxnChg>
        <pc:cxnChg chg="mod ord">
          <ac:chgData name="Ugo MANTEL" userId="2d5b7065-31bb-4181-a7f8-a73bf0c30211" providerId="ADAL" clId="{2A660E2D-CD4C-439C-955B-BDD952B126F0}" dt="2021-03-08T13:55:03.973" v="31111"/>
          <ac:cxnSpMkLst>
            <pc:docMk/>
            <pc:sldMk cId="1868022673" sldId="7334"/>
            <ac:cxnSpMk id="236" creationId="{159E5405-BAB9-4BD4-8DC1-607436A64CD9}"/>
          </ac:cxnSpMkLst>
        </pc:cxnChg>
        <pc:cxnChg chg="mod ord">
          <ac:chgData name="Ugo MANTEL" userId="2d5b7065-31bb-4181-a7f8-a73bf0c30211" providerId="ADAL" clId="{2A660E2D-CD4C-439C-955B-BDD952B126F0}" dt="2021-03-08T13:55:03.969" v="31103"/>
          <ac:cxnSpMkLst>
            <pc:docMk/>
            <pc:sldMk cId="1868022673" sldId="7334"/>
            <ac:cxnSpMk id="286" creationId="{02796175-775A-4783-975E-F1573F145E89}"/>
          </ac:cxnSpMkLst>
        </pc:cxnChg>
        <pc:cxnChg chg="del mod ord">
          <ac:chgData name="Ugo MANTEL" userId="2d5b7065-31bb-4181-a7f8-a73bf0c30211" providerId="ADAL" clId="{2A660E2D-CD4C-439C-955B-BDD952B126F0}" dt="2021-03-08T10:00:04.902" v="10091"/>
          <ac:cxnSpMkLst>
            <pc:docMk/>
            <pc:sldMk cId="1868022673" sldId="7334"/>
            <ac:cxnSpMk id="292" creationId="{6126928B-B4BF-4B52-BD26-52CF89C7FA56}"/>
          </ac:cxnSpMkLst>
        </pc:cxnChg>
        <pc:cxnChg chg="del mod ord">
          <ac:chgData name="Ugo MANTEL" userId="2d5b7065-31bb-4181-a7f8-a73bf0c30211" providerId="ADAL" clId="{2A660E2D-CD4C-439C-955B-BDD952B126F0}" dt="2021-03-08T10:00:04.902" v="10088"/>
          <ac:cxnSpMkLst>
            <pc:docMk/>
            <pc:sldMk cId="1868022673" sldId="7334"/>
            <ac:cxnSpMk id="304" creationId="{F2389580-1632-4A80-B4DC-5676870CE2C0}"/>
          </ac:cxnSpMkLst>
        </pc:cxnChg>
      </pc:sldChg>
      <pc:sldChg chg="addSp delSp modSp new add mod ord">
        <pc:chgData name="Ugo MANTEL" userId="2d5b7065-31bb-4181-a7f8-a73bf0c30211" providerId="ADAL" clId="{2A660E2D-CD4C-439C-955B-BDD952B126F0}" dt="2021-03-08T14:13:56.016" v="35950" actId="478"/>
        <pc:sldMkLst>
          <pc:docMk/>
          <pc:sldMk cId="753664924" sldId="7335"/>
        </pc:sldMkLst>
        <pc:spChg chg="mod">
          <ac:chgData name="Ugo MANTEL" userId="2d5b7065-31bb-4181-a7f8-a73bf0c30211" providerId="ADAL" clId="{2A660E2D-CD4C-439C-955B-BDD952B126F0}" dt="2021-03-08T14:10:14.895" v="35866"/>
          <ac:spMkLst>
            <pc:docMk/>
            <pc:sldMk cId="753664924" sldId="7335"/>
            <ac:spMk id="2" creationId="{C22F528B-1A7E-486B-B57C-174180AA2A47}"/>
          </ac:spMkLst>
        </pc:spChg>
        <pc:spChg chg="del">
          <ac:chgData name="Ugo MANTEL" userId="2d5b7065-31bb-4181-a7f8-a73bf0c30211" providerId="ADAL" clId="{2A660E2D-CD4C-439C-955B-BDD952B126F0}" dt="2021-03-08T14:13:56.016" v="35950" actId="478"/>
          <ac:spMkLst>
            <pc:docMk/>
            <pc:sldMk cId="753664924" sldId="7335"/>
            <ac:spMk id="3" creationId="{D166BA0C-4584-44A7-9A22-0212303D55DD}"/>
          </ac:spMkLst>
        </pc:spChg>
        <pc:spChg chg="del">
          <ac:chgData name="Ugo MANTEL" userId="2d5b7065-31bb-4181-a7f8-a73bf0c30211" providerId="ADAL" clId="{2A660E2D-CD4C-439C-955B-BDD952B126F0}" dt="2021-03-08T14:13:54.572" v="35949" actId="478"/>
          <ac:spMkLst>
            <pc:docMk/>
            <pc:sldMk cId="753664924" sldId="7335"/>
            <ac:spMk id="4" creationId="{B717A35D-1191-4424-AA6A-5B58E4C8249F}"/>
          </ac:spMkLst>
        </pc:spChg>
        <pc:spChg chg="add del mod modVis">
          <ac:chgData name="Ugo MANTEL" userId="2d5b7065-31bb-4181-a7f8-a73bf0c30211" providerId="ADAL" clId="{2A660E2D-CD4C-439C-955B-BDD952B126F0}" dt="2021-03-08T14:09:56.362" v="35620"/>
          <ac:spMkLst>
            <pc:docMk/>
            <pc:sldMk cId="753664924" sldId="7335"/>
            <ac:spMk id="6" creationId="{6FC77234-D34D-42EA-B83B-097CFB0300D6}"/>
          </ac:spMkLst>
        </pc:spChg>
        <pc:spChg chg="add del mod modVis">
          <ac:chgData name="Ugo MANTEL" userId="2d5b7065-31bb-4181-a7f8-a73bf0c30211" providerId="ADAL" clId="{2A660E2D-CD4C-439C-955B-BDD952B126F0}" dt="2021-03-08T14:10:05.207" v="35677"/>
          <ac:spMkLst>
            <pc:docMk/>
            <pc:sldMk cId="753664924" sldId="7335"/>
            <ac:spMk id="7" creationId="{810C5E94-FB57-4FD3-95F6-C6149B879D9E}"/>
          </ac:spMkLst>
        </pc:spChg>
        <pc:spChg chg="add del mod modVis">
          <ac:chgData name="Ugo MANTEL" userId="2d5b7065-31bb-4181-a7f8-a73bf0c30211" providerId="ADAL" clId="{2A660E2D-CD4C-439C-955B-BDD952B126F0}" dt="2021-03-08T14:10:08.908" v="35730"/>
          <ac:spMkLst>
            <pc:docMk/>
            <pc:sldMk cId="753664924" sldId="7335"/>
            <ac:spMk id="8" creationId="{83E8A41D-D6DE-4C1D-B7BB-C3C1CE1AA1C0}"/>
          </ac:spMkLst>
        </pc:spChg>
        <pc:spChg chg="add del mod modVis">
          <ac:chgData name="Ugo MANTEL" userId="2d5b7065-31bb-4181-a7f8-a73bf0c30211" providerId="ADAL" clId="{2A660E2D-CD4C-439C-955B-BDD952B126F0}" dt="2021-03-08T14:10:10.318" v="35775"/>
          <ac:spMkLst>
            <pc:docMk/>
            <pc:sldMk cId="753664924" sldId="7335"/>
            <ac:spMk id="9" creationId="{54E9B28C-E5BB-467D-87BA-7EA2981EE346}"/>
          </ac:spMkLst>
        </pc:spChg>
        <pc:spChg chg="add del mod modVis">
          <ac:chgData name="Ugo MANTEL" userId="2d5b7065-31bb-4181-a7f8-a73bf0c30211" providerId="ADAL" clId="{2A660E2D-CD4C-439C-955B-BDD952B126F0}" dt="2021-03-08T14:10:12.034" v="35821"/>
          <ac:spMkLst>
            <pc:docMk/>
            <pc:sldMk cId="753664924" sldId="7335"/>
            <ac:spMk id="10" creationId="{FBFE1812-9984-4957-89CC-75B8CE081256}"/>
          </ac:spMkLst>
        </pc:spChg>
        <pc:spChg chg="add del mod modVis">
          <ac:chgData name="Ugo MANTEL" userId="2d5b7065-31bb-4181-a7f8-a73bf0c30211" providerId="ADAL" clId="{2A660E2D-CD4C-439C-955B-BDD952B126F0}" dt="2021-03-08T14:10:12.600" v="35862"/>
          <ac:spMkLst>
            <pc:docMk/>
            <pc:sldMk cId="753664924" sldId="7335"/>
            <ac:spMk id="11" creationId="{A2CC1969-2EC7-44EA-8ACA-6C82F031C56B}"/>
          </ac:spMkLst>
        </pc:spChg>
        <pc:spChg chg="add del mod modVis">
          <ac:chgData name="Ugo MANTEL" userId="2d5b7065-31bb-4181-a7f8-a73bf0c30211" providerId="ADAL" clId="{2A660E2D-CD4C-439C-955B-BDD952B126F0}" dt="2021-03-08T14:10:14.935" v="35903"/>
          <ac:spMkLst>
            <pc:docMk/>
            <pc:sldMk cId="753664924" sldId="7335"/>
            <ac:spMk id="12" creationId="{FC70A2D7-2B06-4B58-8EB5-9655B96A08A9}"/>
          </ac:spMkLst>
        </pc:spChg>
        <pc:graphicFrameChg chg="add mod ord modVis">
          <ac:chgData name="Ugo MANTEL" userId="2d5b7065-31bb-4181-a7f8-a73bf0c30211" providerId="ADAL" clId="{2A660E2D-CD4C-439C-955B-BDD952B126F0}" dt="2021-03-08T14:10:14.937" v="35905"/>
          <ac:graphicFrameMkLst>
            <pc:docMk/>
            <pc:sldMk cId="753664924" sldId="7335"/>
            <ac:graphicFrameMk id="5" creationId="{A6C52CA5-431B-471B-9421-6480BB34C5FC}"/>
          </ac:graphicFrameMkLst>
        </pc:graphicFrameChg>
      </pc:sldChg>
      <pc:sldMasterChg chg="addSp delSp modSp mod modSldLayout">
        <pc:chgData name="Ugo MANTEL" userId="2d5b7065-31bb-4181-a7f8-a73bf0c30211" providerId="ADAL" clId="{2A660E2D-CD4C-439C-955B-BDD952B126F0}" dt="2021-03-08T14:13:37.174" v="35946" actId="478"/>
        <pc:sldMasterMkLst>
          <pc:docMk/>
          <pc:sldMasterMk cId="71096945" sldId="2147483691"/>
        </pc:sldMasterMkLst>
        <pc:spChg chg="del mod">
          <ac:chgData name="Ugo MANTEL" userId="2d5b7065-31bb-4181-a7f8-a73bf0c30211" providerId="ADAL" clId="{2A660E2D-CD4C-439C-955B-BDD952B126F0}" dt="2021-03-08T14:13:37.174" v="35946" actId="478"/>
          <ac:spMkLst>
            <pc:docMk/>
            <pc:sldMasterMk cId="71096945" sldId="2147483691"/>
            <ac:spMk id="63" creationId="{00000000-0000-0000-0000-000000000000}"/>
          </ac:spMkLst>
        </pc:spChg>
        <pc:picChg chg="add mod">
          <ac:chgData name="Ugo MANTEL" userId="2d5b7065-31bb-4181-a7f8-a73bf0c30211" providerId="ADAL" clId="{2A660E2D-CD4C-439C-955B-BDD952B126F0}" dt="2021-03-08T14:13:34.530" v="35945" actId="1076"/>
          <ac:picMkLst>
            <pc:docMk/>
            <pc:sldMasterMk cId="71096945" sldId="2147483691"/>
            <ac:picMk id="34" creationId="{FA6666E6-8878-4EEA-A478-6EDFF05782F1}"/>
          </ac:picMkLst>
        </pc:picChg>
        <pc:sldLayoutChg chg="addSp delSp modSp mod">
          <pc:chgData name="Ugo MANTEL" userId="2d5b7065-31bb-4181-a7f8-a73bf0c30211" providerId="ADAL" clId="{2A660E2D-CD4C-439C-955B-BDD952B126F0}" dt="2021-03-08T14:12:39.893" v="35932" actId="478"/>
          <pc:sldLayoutMkLst>
            <pc:docMk/>
            <pc:sldMasterMk cId="71096945" sldId="2147483691"/>
            <pc:sldLayoutMk cId="3596032879" sldId="2147483705"/>
          </pc:sldLayoutMkLst>
          <pc:spChg chg="del mod">
            <ac:chgData name="Ugo MANTEL" userId="2d5b7065-31bb-4181-a7f8-a73bf0c30211" providerId="ADAL" clId="{2A660E2D-CD4C-439C-955B-BDD952B126F0}" dt="2021-03-08T14:12:33.250" v="35931" actId="478"/>
            <ac:spMkLst>
              <pc:docMk/>
              <pc:sldMasterMk cId="71096945" sldId="2147483691"/>
              <pc:sldLayoutMk cId="3596032879" sldId="2147483705"/>
              <ac:spMk id="2" creationId="{00000000-0000-0000-0000-000000000000}"/>
            </ac:spMkLst>
          </pc:spChg>
          <pc:spChg chg="del">
            <ac:chgData name="Ugo MANTEL" userId="2d5b7065-31bb-4181-a7f8-a73bf0c30211" providerId="ADAL" clId="{2A660E2D-CD4C-439C-955B-BDD952B126F0}" dt="2021-03-08T14:12:39.893" v="35932" actId="478"/>
            <ac:spMkLst>
              <pc:docMk/>
              <pc:sldMasterMk cId="71096945" sldId="2147483691"/>
              <pc:sldLayoutMk cId="3596032879" sldId="2147483705"/>
              <ac:spMk id="14" creationId="{00000000-0000-0000-0000-000000000000}"/>
            </ac:spMkLst>
          </pc:spChg>
          <pc:spChg chg="add del">
            <ac:chgData name="Ugo MANTEL" userId="2d5b7065-31bb-4181-a7f8-a73bf0c30211" providerId="ADAL" clId="{2A660E2D-CD4C-439C-955B-BDD952B126F0}" dt="2021-03-08T14:11:15.390" v="35908" actId="22"/>
            <ac:spMkLst>
              <pc:docMk/>
              <pc:sldMasterMk cId="71096945" sldId="2147483691"/>
              <pc:sldLayoutMk cId="3596032879" sldId="2147483705"/>
              <ac:spMk id="55" creationId="{6D00B896-2565-48EF-82D6-CFE5040A8353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87" creationId="{DC9A3497-21A3-45E3-A9E4-89DC78B9478D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88" creationId="{A05312BB-6D00-4A33-8DCC-A0CFD12D9B7A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89" creationId="{D8C294E5-A588-4C96-BAA1-B184FBEDD217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0" creationId="{E0AC33C0-F4DB-4ACB-8C93-7639BB156C72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1" creationId="{514F0AD8-B1B4-4C2C-9407-C2CCF225A435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2" creationId="{12C0952D-99F4-482C-ACA6-6EC2658765FE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3" creationId="{A516946E-2603-401C-8B73-70E873D19B86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4" creationId="{FFC47E35-3B12-42EE-9400-EFD02A9433AA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5" creationId="{A3CBEA83-BE2F-4A88-94E7-8737934851A9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6" creationId="{8E1FCF69-EBCE-4857-B83A-5AEC00B57F02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7" creationId="{1060C7BC-EA2E-4237-A593-09DE893A3112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8" creationId="{0BA543BB-A610-44E3-B159-3435A7FE8FA4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99" creationId="{49C9833A-F4C6-4E5A-A814-23E4F1973BA9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0" creationId="{83B03A28-0611-4D66-95A4-C7A81D300E58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1" creationId="{C3D0899A-F391-45AD-8F04-EE970BF4D696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2" creationId="{AF4FC958-61A1-429F-BDA5-D5CC9D4D081A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3" creationId="{59F5228F-98E9-4DA1-9ABC-498710FA2A2A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4" creationId="{FBBB3FAA-A65C-4584-92A7-634B6E82AE2B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5" creationId="{BD5CBC48-64FA-4943-B560-6D23857954F0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6" creationId="{4F8034E1-49AC-47DE-AAEE-33A30F35F8CD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7" creationId="{04A6C2A8-2A59-4C96-898C-DDF358A3360F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8" creationId="{C1DD6637-8CDE-4825-9EB4-46066DB32677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09" creationId="{530E22A0-9583-4150-89B3-CED9626A10FC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0" creationId="{EF9CBD14-2F10-4512-AE15-AF56DAB8AD78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1" creationId="{E8C840D5-B804-4B87-B743-3F918F8E502C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2" creationId="{1296E9EE-1918-4E0A-9F01-F0A93C949143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3" creationId="{940358D1-302A-4428-A544-EBDDC5A07249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4" creationId="{7557BEC3-C7CA-4FAE-B724-BD0460256CBB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5" creationId="{9CE7BF76-40A3-4F9B-9C17-107416A3DEF0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6" creationId="{B246315D-379A-46AC-8B2A-DD098BD0DBF7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7" creationId="{2E966495-FF18-442B-9EE3-2AE1D61A8FEF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8" creationId="{33C96522-BE3A-4B97-924A-C50B023B8379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19" creationId="{62E9089B-F80B-4A40-B426-1B41438860A9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0" creationId="{6A6AC0AF-8041-415B-BB1D-11EB5EEB51D1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1" creationId="{54DDF795-567F-4120-9238-03949882BBC3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2" creationId="{AD021256-C0E6-4EDC-A687-92A2652E0864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3" creationId="{51388068-D1C7-4F0A-A0FA-62322DA7B128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4" creationId="{3DF1E406-3DB0-4685-9480-8D4585AA7202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5" creationId="{43E7EEFA-1A48-49DD-885E-F6D29D1291F1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6" creationId="{1D28DCDF-0595-487A-A35C-48CF77618FF6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7" creationId="{AF734EED-C36F-49C2-BE94-C215BF5082D8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8" creationId="{E151ED61-25C2-47B8-8880-0C23485713E2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29" creationId="{07955827-545D-4013-ACE8-1253A9729DFB}"/>
            </ac:spMkLst>
          </pc:spChg>
          <pc:spChg chg="mod">
            <ac:chgData name="Ugo MANTEL" userId="2d5b7065-31bb-4181-a7f8-a73bf0c30211" providerId="ADAL" clId="{2A660E2D-CD4C-439C-955B-BDD952B126F0}" dt="2021-03-08T14:12:29.743" v="35930" actId="12789"/>
            <ac:spMkLst>
              <pc:docMk/>
              <pc:sldMasterMk cId="71096945" sldId="2147483691"/>
              <pc:sldLayoutMk cId="3596032879" sldId="2147483705"/>
              <ac:spMk id="130" creationId="{8A63F5CA-6FCA-4171-97D8-977E51744830}"/>
            </ac:spMkLst>
          </pc:spChg>
          <pc:grpChg chg="mod">
            <ac:chgData name="Ugo MANTEL" userId="2d5b7065-31bb-4181-a7f8-a73bf0c30211" providerId="ADAL" clId="{2A660E2D-CD4C-439C-955B-BDD952B126F0}" dt="2021-03-08T14:12:29.743" v="35930" actId="12789"/>
            <ac:grpSpMkLst>
              <pc:docMk/>
              <pc:sldMasterMk cId="71096945" sldId="2147483691"/>
              <pc:sldLayoutMk cId="3596032879" sldId="2147483705"/>
              <ac:grpSpMk id="86" creationId="{65C783B5-0FA9-4173-B7B2-D53A2BCB045D}"/>
            </ac:grpSpMkLst>
          </pc:grpChg>
          <pc:picChg chg="add del mod">
            <ac:chgData name="Ugo MANTEL" userId="2d5b7065-31bb-4181-a7f8-a73bf0c30211" providerId="ADAL" clId="{2A660E2D-CD4C-439C-955B-BDD952B126F0}" dt="2021-03-08T14:11:44.528" v="35916" actId="478"/>
            <ac:picMkLst>
              <pc:docMk/>
              <pc:sldMasterMk cId="71096945" sldId="2147483691"/>
              <pc:sldLayoutMk cId="3596032879" sldId="2147483705"/>
              <ac:picMk id="1026" creationId="{DC1BDC22-3ACA-4F60-9446-F88A1EBD8B42}"/>
            </ac:picMkLst>
          </pc:picChg>
          <pc:picChg chg="add mod">
            <ac:chgData name="Ugo MANTEL" userId="2d5b7065-31bb-4181-a7f8-a73bf0c30211" providerId="ADAL" clId="{2A660E2D-CD4C-439C-955B-BDD952B126F0}" dt="2021-03-08T14:12:29.743" v="35930" actId="12789"/>
            <ac:picMkLst>
              <pc:docMk/>
              <pc:sldMasterMk cId="71096945" sldId="2147483691"/>
              <pc:sldLayoutMk cId="3596032879" sldId="2147483705"/>
              <ac:picMk id="1028" creationId="{96D1C176-025E-4CA8-9783-62A452478E82}"/>
            </ac:picMkLst>
          </pc:picChg>
        </pc:sldLayoutChg>
      </pc:sldMasterChg>
    </pc:docChg>
  </pc:docChgLst>
  <pc:docChgLst>
    <pc:chgData name="Adèle DUCURTIL" userId="4cc4c274-2099-4ec9-9ef7-59e8b8faf7f4" providerId="ADAL" clId="{16B19183-0D00-42BB-9D68-0C157ABE533B}"/>
    <pc:docChg chg="custSel modSld">
      <pc:chgData name="Adèle DUCURTIL" userId="4cc4c274-2099-4ec9-9ef7-59e8b8faf7f4" providerId="ADAL" clId="{16B19183-0D00-42BB-9D68-0C157ABE533B}" dt="2021-03-08T13:36:21.731" v="1012"/>
      <pc:docMkLst>
        <pc:docMk/>
      </pc:docMkLst>
      <pc:sldChg chg="addSp delSp modSp mod">
        <pc:chgData name="Adèle DUCURTIL" userId="4cc4c274-2099-4ec9-9ef7-59e8b8faf7f4" providerId="ADAL" clId="{16B19183-0D00-42BB-9D68-0C157ABE533B}" dt="2021-03-08T13:36:19.976" v="546"/>
        <pc:sldMkLst>
          <pc:docMk/>
          <pc:sldMk cId="2701412712" sldId="7332"/>
        </pc:sldMkLst>
        <pc:spChg chg="mod">
          <ac:chgData name="Adèle DUCURTIL" userId="4cc4c274-2099-4ec9-9ef7-59e8b8faf7f4" providerId="ADAL" clId="{16B19183-0D00-42BB-9D68-0C157ABE533B}" dt="2021-03-08T13:36:19.929" v="388"/>
          <ac:spMkLst>
            <pc:docMk/>
            <pc:sldMk cId="2701412712" sldId="7332"/>
            <ac:spMk id="2" creationId="{64576B3F-3BF3-47ED-8392-95410BFB7165}"/>
          </ac:spMkLst>
        </pc:spChg>
        <pc:spChg chg="mod ord">
          <ac:chgData name="Adèle DUCURTIL" userId="4cc4c274-2099-4ec9-9ef7-59e8b8faf7f4" providerId="ADAL" clId="{16B19183-0D00-42BB-9D68-0C157ABE533B}" dt="2021-03-08T13:36:19.929" v="390"/>
          <ac:spMkLst>
            <pc:docMk/>
            <pc:sldMk cId="2701412712" sldId="7332"/>
            <ac:spMk id="3" creationId="{54F22942-C2FD-4CBD-8EDF-A48063B3C9C0}"/>
          </ac:spMkLst>
        </pc:spChg>
        <pc:spChg chg="add del mod ord modVis">
          <ac:chgData name="Adèle DUCURTIL" userId="4cc4c274-2099-4ec9-9ef7-59e8b8faf7f4" providerId="ADAL" clId="{16B19183-0D00-42BB-9D68-0C157ABE533B}" dt="2021-03-08T13:36:19.961" v="544"/>
          <ac:spMkLst>
            <pc:docMk/>
            <pc:sldMk cId="2701412712" sldId="7332"/>
            <ac:spMk id="4" creationId="{498AFAD2-869C-4C91-B3BF-28B714A710C8}"/>
          </ac:spMkLst>
        </pc:spChg>
        <pc:spChg chg="mod ord">
          <ac:chgData name="Adèle DUCURTIL" userId="4cc4c274-2099-4ec9-9ef7-59e8b8faf7f4" providerId="ADAL" clId="{16B19183-0D00-42BB-9D68-0C157ABE533B}" dt="2021-03-08T13:36:19.929" v="387"/>
          <ac:spMkLst>
            <pc:docMk/>
            <pc:sldMk cId="2701412712" sldId="7332"/>
            <ac:spMk id="8" creationId="{CFC02BAD-456B-4773-9A5D-8C6871E49FAB}"/>
          </ac:spMkLst>
        </pc:spChg>
        <pc:spChg chg="mod ord">
          <ac:chgData name="Adèle DUCURTIL" userId="4cc4c274-2099-4ec9-9ef7-59e8b8faf7f4" providerId="ADAL" clId="{16B19183-0D00-42BB-9D68-0C157ABE533B}" dt="2021-03-08T13:36:19.929" v="392"/>
          <ac:spMkLst>
            <pc:docMk/>
            <pc:sldMk cId="2701412712" sldId="7332"/>
            <ac:spMk id="10" creationId="{33FAE982-EF25-48C7-A786-AC0F0510B8D2}"/>
          </ac:spMkLst>
        </pc:spChg>
        <pc:spChg chg="mod ord">
          <ac:chgData name="Adèle DUCURTIL" userId="4cc4c274-2099-4ec9-9ef7-59e8b8faf7f4" providerId="ADAL" clId="{16B19183-0D00-42BB-9D68-0C157ABE533B}" dt="2021-03-08T13:36:19.929" v="394"/>
          <ac:spMkLst>
            <pc:docMk/>
            <pc:sldMk cId="2701412712" sldId="7332"/>
            <ac:spMk id="11" creationId="{87D2F3C3-FA5C-421B-87D7-38B6AB2BF45B}"/>
          </ac:spMkLst>
        </pc:spChg>
        <pc:spChg chg="mod ord">
          <ac:chgData name="Adèle DUCURTIL" userId="4cc4c274-2099-4ec9-9ef7-59e8b8faf7f4" providerId="ADAL" clId="{16B19183-0D00-42BB-9D68-0C157ABE533B}" dt="2021-03-08T13:36:19.929" v="396"/>
          <ac:spMkLst>
            <pc:docMk/>
            <pc:sldMk cId="2701412712" sldId="7332"/>
            <ac:spMk id="12" creationId="{1C3FF9CD-B1BC-4799-A632-81B0B66892EF}"/>
          </ac:spMkLst>
        </pc:spChg>
        <pc:spChg chg="mod ord">
          <ac:chgData name="Adèle DUCURTIL" userId="4cc4c274-2099-4ec9-9ef7-59e8b8faf7f4" providerId="ADAL" clId="{16B19183-0D00-42BB-9D68-0C157ABE533B}" dt="2021-03-08T13:36:19.945" v="454"/>
          <ac:spMkLst>
            <pc:docMk/>
            <pc:sldMk cId="2701412712" sldId="7332"/>
            <ac:spMk id="21" creationId="{86393647-7AF4-4521-B8B8-5AE0F22DC3B0}"/>
          </ac:spMkLst>
        </pc:spChg>
        <pc:spChg chg="mod ord">
          <ac:chgData name="Adèle DUCURTIL" userId="4cc4c274-2099-4ec9-9ef7-59e8b8faf7f4" providerId="ADAL" clId="{16B19183-0D00-42BB-9D68-0C157ABE533B}" dt="2021-03-08T13:36:19.945" v="456"/>
          <ac:spMkLst>
            <pc:docMk/>
            <pc:sldMk cId="2701412712" sldId="7332"/>
            <ac:spMk id="22" creationId="{1485A8C1-E288-4C0E-8B53-A639DDDA682F}"/>
          </ac:spMkLst>
        </pc:spChg>
        <pc:spChg chg="mod ord">
          <ac:chgData name="Adèle DUCURTIL" userId="4cc4c274-2099-4ec9-9ef7-59e8b8faf7f4" providerId="ADAL" clId="{16B19183-0D00-42BB-9D68-0C157ABE533B}" dt="2021-03-08T13:36:19.929" v="398"/>
          <ac:spMkLst>
            <pc:docMk/>
            <pc:sldMk cId="2701412712" sldId="7332"/>
            <ac:spMk id="25" creationId="{62F441A8-CBFA-4807-AA42-A25161B73984}"/>
          </ac:spMkLst>
        </pc:spChg>
        <pc:spChg chg="mod ord">
          <ac:chgData name="Adèle DUCURTIL" userId="4cc4c274-2099-4ec9-9ef7-59e8b8faf7f4" providerId="ADAL" clId="{16B19183-0D00-42BB-9D68-0C157ABE533B}" dt="2021-03-08T13:36:19.929" v="400"/>
          <ac:spMkLst>
            <pc:docMk/>
            <pc:sldMk cId="2701412712" sldId="7332"/>
            <ac:spMk id="26" creationId="{9532E04E-BD40-4781-95C1-B1CB4629888D}"/>
          </ac:spMkLst>
        </pc:spChg>
        <pc:spChg chg="mod ord">
          <ac:chgData name="Adèle DUCURTIL" userId="4cc4c274-2099-4ec9-9ef7-59e8b8faf7f4" providerId="ADAL" clId="{16B19183-0D00-42BB-9D68-0C157ABE533B}" dt="2021-03-08T13:36:19.945" v="402"/>
          <ac:spMkLst>
            <pc:docMk/>
            <pc:sldMk cId="2701412712" sldId="7332"/>
            <ac:spMk id="27" creationId="{3D60F54E-E0B3-4D5A-9146-8B3E9297DA9A}"/>
          </ac:spMkLst>
        </pc:spChg>
        <pc:spChg chg="mod ord">
          <ac:chgData name="Adèle DUCURTIL" userId="4cc4c274-2099-4ec9-9ef7-59e8b8faf7f4" providerId="ADAL" clId="{16B19183-0D00-42BB-9D68-0C157ABE533B}" dt="2021-03-08T13:36:19.945" v="404"/>
          <ac:spMkLst>
            <pc:docMk/>
            <pc:sldMk cId="2701412712" sldId="7332"/>
            <ac:spMk id="28" creationId="{7DBC0A10-C77D-406E-9FE1-C469891D4A13}"/>
          </ac:spMkLst>
        </pc:spChg>
        <pc:spChg chg="mod">
          <ac:chgData name="Adèle DUCURTIL" userId="4cc4c274-2099-4ec9-9ef7-59e8b8faf7f4" providerId="ADAL" clId="{16B19183-0D00-42BB-9D68-0C157ABE533B}" dt="2021-03-08T13:36:19.945" v="446"/>
          <ac:spMkLst>
            <pc:docMk/>
            <pc:sldMk cId="2701412712" sldId="7332"/>
            <ac:spMk id="29" creationId="{2D50909B-D276-4130-8015-7E672A7A6AC8}"/>
          </ac:spMkLst>
        </pc:spChg>
        <pc:spChg chg="mod">
          <ac:chgData name="Adèle DUCURTIL" userId="4cc4c274-2099-4ec9-9ef7-59e8b8faf7f4" providerId="ADAL" clId="{16B19183-0D00-42BB-9D68-0C157ABE533B}" dt="2021-03-08T13:36:19.945" v="428"/>
          <ac:spMkLst>
            <pc:docMk/>
            <pc:sldMk cId="2701412712" sldId="7332"/>
            <ac:spMk id="32" creationId="{E983B6CB-FA16-4AA5-AF97-0806A4EBDEEC}"/>
          </ac:spMkLst>
        </pc:spChg>
        <pc:spChg chg="mod">
          <ac:chgData name="Adèle DUCURTIL" userId="4cc4c274-2099-4ec9-9ef7-59e8b8faf7f4" providerId="ADAL" clId="{16B19183-0D00-42BB-9D68-0C157ABE533B}" dt="2021-03-08T13:36:19.945" v="421"/>
          <ac:spMkLst>
            <pc:docMk/>
            <pc:sldMk cId="2701412712" sldId="7332"/>
            <ac:spMk id="33" creationId="{A4C42241-6C7E-4D8D-AE62-1CC497C7E1FC}"/>
          </ac:spMkLst>
        </pc:spChg>
        <pc:spChg chg="mod">
          <ac:chgData name="Adèle DUCURTIL" userId="4cc4c274-2099-4ec9-9ef7-59e8b8faf7f4" providerId="ADAL" clId="{16B19183-0D00-42BB-9D68-0C157ABE533B}" dt="2021-03-08T13:36:19.945" v="450"/>
          <ac:spMkLst>
            <pc:docMk/>
            <pc:sldMk cId="2701412712" sldId="7332"/>
            <ac:spMk id="49" creationId="{6BB7916F-8D04-479D-BB06-36EA6577D464}"/>
          </ac:spMkLst>
        </pc:spChg>
        <pc:spChg chg="mod">
          <ac:chgData name="Adèle DUCURTIL" userId="4cc4c274-2099-4ec9-9ef7-59e8b8faf7f4" providerId="ADAL" clId="{16B19183-0D00-42BB-9D68-0C157ABE533B}" dt="2021-03-08T13:36:19.945" v="431"/>
          <ac:spMkLst>
            <pc:docMk/>
            <pc:sldMk cId="2701412712" sldId="7332"/>
            <ac:spMk id="60" creationId="{079A3004-8B10-4A8B-A55B-01C30D9ACF73}"/>
          </ac:spMkLst>
        </pc:spChg>
        <pc:spChg chg="mod">
          <ac:chgData name="Adèle DUCURTIL" userId="4cc4c274-2099-4ec9-9ef7-59e8b8faf7f4" providerId="ADAL" clId="{16B19183-0D00-42BB-9D68-0C157ABE533B}" dt="2021-03-08T13:36:19.945" v="430"/>
          <ac:spMkLst>
            <pc:docMk/>
            <pc:sldMk cId="2701412712" sldId="7332"/>
            <ac:spMk id="61" creationId="{6A5F3BD4-D574-47FE-9569-2BFBE78A5DE9}"/>
          </ac:spMkLst>
        </pc:spChg>
        <pc:spChg chg="mod ord">
          <ac:chgData name="Adèle DUCURTIL" userId="4cc4c274-2099-4ec9-9ef7-59e8b8faf7f4" providerId="ADAL" clId="{16B19183-0D00-42BB-9D68-0C157ABE533B}" dt="2021-03-08T13:36:19.961" v="540"/>
          <ac:spMkLst>
            <pc:docMk/>
            <pc:sldMk cId="2701412712" sldId="7332"/>
            <ac:spMk id="104" creationId="{BA26C06F-3D5D-4A61-986F-F963A5014473}"/>
          </ac:spMkLst>
        </pc:spChg>
        <pc:spChg chg="mod ord">
          <ac:chgData name="Adèle DUCURTIL" userId="4cc4c274-2099-4ec9-9ef7-59e8b8faf7f4" providerId="ADAL" clId="{16B19183-0D00-42BB-9D68-0C157ABE533B}" dt="2021-03-08T13:36:19.961" v="486"/>
          <ac:spMkLst>
            <pc:docMk/>
            <pc:sldMk cId="2701412712" sldId="7332"/>
            <ac:spMk id="155" creationId="{4A59B4EB-D46A-4E72-ABAA-534E7284D853}"/>
          </ac:spMkLst>
        </pc:spChg>
        <pc:spChg chg="mod">
          <ac:chgData name="Adèle DUCURTIL" userId="4cc4c274-2099-4ec9-9ef7-59e8b8faf7f4" providerId="ADAL" clId="{16B19183-0D00-42BB-9D68-0C157ABE533B}" dt="2021-03-08T13:36:19.961" v="505"/>
          <ac:spMkLst>
            <pc:docMk/>
            <pc:sldMk cId="2701412712" sldId="7332"/>
            <ac:spMk id="156" creationId="{EF9D2E18-A2AD-4C17-809E-504AC2D56391}"/>
          </ac:spMkLst>
        </pc:spChg>
        <pc:spChg chg="mod">
          <ac:chgData name="Adèle DUCURTIL" userId="4cc4c274-2099-4ec9-9ef7-59e8b8faf7f4" providerId="ADAL" clId="{16B19183-0D00-42BB-9D68-0C157ABE533B}" dt="2021-03-08T13:36:19.945" v="480"/>
          <ac:spMkLst>
            <pc:docMk/>
            <pc:sldMk cId="2701412712" sldId="7332"/>
            <ac:spMk id="157" creationId="{58F20243-8FEE-4E74-91FE-CA462C21C1CD}"/>
          </ac:spMkLst>
        </pc:spChg>
        <pc:spChg chg="mod ord">
          <ac:chgData name="Adèle DUCURTIL" userId="4cc4c274-2099-4ec9-9ef7-59e8b8faf7f4" providerId="ADAL" clId="{16B19183-0D00-42BB-9D68-0C157ABE533B}" dt="2021-03-08T13:36:19.945" v="483"/>
          <ac:spMkLst>
            <pc:docMk/>
            <pc:sldMk cId="2701412712" sldId="7332"/>
            <ac:spMk id="158" creationId="{6FFBD836-76D6-4706-9391-961BBE0A2260}"/>
          </ac:spMkLst>
        </pc:spChg>
        <pc:spChg chg="mod">
          <ac:chgData name="Adèle DUCURTIL" userId="4cc4c274-2099-4ec9-9ef7-59e8b8faf7f4" providerId="ADAL" clId="{16B19183-0D00-42BB-9D68-0C157ABE533B}" dt="2021-03-08T13:36:19.961" v="487"/>
          <ac:spMkLst>
            <pc:docMk/>
            <pc:sldMk cId="2701412712" sldId="7332"/>
            <ac:spMk id="159" creationId="{226A7B05-7225-451C-ACC8-7044A2E4CEEC}"/>
          </ac:spMkLst>
        </pc:spChg>
        <pc:spChg chg="mod">
          <ac:chgData name="Adèle DUCURTIL" userId="4cc4c274-2099-4ec9-9ef7-59e8b8faf7f4" providerId="ADAL" clId="{16B19183-0D00-42BB-9D68-0C157ABE533B}" dt="2021-03-08T13:36:19.945" v="481"/>
          <ac:spMkLst>
            <pc:docMk/>
            <pc:sldMk cId="2701412712" sldId="7332"/>
            <ac:spMk id="160" creationId="{F63549C8-C607-4C75-957D-A04EDFB6037A}"/>
          </ac:spMkLst>
        </pc:spChg>
        <pc:spChg chg="mod">
          <ac:chgData name="Adèle DUCURTIL" userId="4cc4c274-2099-4ec9-9ef7-59e8b8faf7f4" providerId="ADAL" clId="{16B19183-0D00-42BB-9D68-0C157ABE533B}" dt="2021-03-08T13:36:19.961" v="484"/>
          <ac:spMkLst>
            <pc:docMk/>
            <pc:sldMk cId="2701412712" sldId="7332"/>
            <ac:spMk id="161" creationId="{5C66A23C-D266-4CAF-B9D5-1D29DB1EBAE4}"/>
          </ac:spMkLst>
        </pc:spChg>
        <pc:spChg chg="mod ord">
          <ac:chgData name="Adèle DUCURTIL" userId="4cc4c274-2099-4ec9-9ef7-59e8b8faf7f4" providerId="ADAL" clId="{16B19183-0D00-42BB-9D68-0C157ABE533B}" dt="2021-03-08T13:36:19.961" v="489"/>
          <ac:spMkLst>
            <pc:docMk/>
            <pc:sldMk cId="2701412712" sldId="7332"/>
            <ac:spMk id="162" creationId="{9749F131-8635-40E1-92E7-2788F9881D79}"/>
          </ac:spMkLst>
        </pc:spChg>
        <pc:spChg chg="mod ord">
          <ac:chgData name="Adèle DUCURTIL" userId="4cc4c274-2099-4ec9-9ef7-59e8b8faf7f4" providerId="ADAL" clId="{16B19183-0D00-42BB-9D68-0C157ABE533B}" dt="2021-03-08T13:36:19.961" v="494"/>
          <ac:spMkLst>
            <pc:docMk/>
            <pc:sldMk cId="2701412712" sldId="7332"/>
            <ac:spMk id="163" creationId="{81421543-A1B4-4FB6-9202-84E531EF28BB}"/>
          </ac:spMkLst>
        </pc:spChg>
        <pc:spChg chg="mod ord">
          <ac:chgData name="Adèle DUCURTIL" userId="4cc4c274-2099-4ec9-9ef7-59e8b8faf7f4" providerId="ADAL" clId="{16B19183-0D00-42BB-9D68-0C157ABE533B}" dt="2021-03-08T13:36:19.961" v="503"/>
          <ac:spMkLst>
            <pc:docMk/>
            <pc:sldMk cId="2701412712" sldId="7332"/>
            <ac:spMk id="164" creationId="{FB55E7CC-F607-4AC4-A954-640181C8A369}"/>
          </ac:spMkLst>
        </pc:spChg>
        <pc:spChg chg="mod">
          <ac:chgData name="Adèle DUCURTIL" userId="4cc4c274-2099-4ec9-9ef7-59e8b8faf7f4" providerId="ADAL" clId="{16B19183-0D00-42BB-9D68-0C157ABE533B}" dt="2021-03-08T13:36:19.961" v="504"/>
          <ac:spMkLst>
            <pc:docMk/>
            <pc:sldMk cId="2701412712" sldId="7332"/>
            <ac:spMk id="165" creationId="{1F80219A-9F4E-4821-BBF2-BD5CBA42A2BB}"/>
          </ac:spMkLst>
        </pc:spChg>
        <pc:spChg chg="mod">
          <ac:chgData name="Adèle DUCURTIL" userId="4cc4c274-2099-4ec9-9ef7-59e8b8faf7f4" providerId="ADAL" clId="{16B19183-0D00-42BB-9D68-0C157ABE533B}" dt="2021-03-08T13:36:19.961" v="501"/>
          <ac:spMkLst>
            <pc:docMk/>
            <pc:sldMk cId="2701412712" sldId="7332"/>
            <ac:spMk id="166" creationId="{315C1A59-6188-4670-BD26-1526E5FC03D4}"/>
          </ac:spMkLst>
        </pc:spChg>
        <pc:spChg chg="mod ord">
          <ac:chgData name="Adèle DUCURTIL" userId="4cc4c274-2099-4ec9-9ef7-59e8b8faf7f4" providerId="ADAL" clId="{16B19183-0D00-42BB-9D68-0C157ABE533B}" dt="2021-03-08T13:36:19.961" v="499"/>
          <ac:spMkLst>
            <pc:docMk/>
            <pc:sldMk cId="2701412712" sldId="7332"/>
            <ac:spMk id="167" creationId="{8DC6E773-90F1-460C-B279-7E095CE2FE5E}"/>
          </ac:spMkLst>
        </pc:spChg>
        <pc:spChg chg="mod ord">
          <ac:chgData name="Adèle DUCURTIL" userId="4cc4c274-2099-4ec9-9ef7-59e8b8faf7f4" providerId="ADAL" clId="{16B19183-0D00-42BB-9D68-0C157ABE533B}" dt="2021-03-08T13:36:19.961" v="510"/>
          <ac:spMkLst>
            <pc:docMk/>
            <pc:sldMk cId="2701412712" sldId="7332"/>
            <ac:spMk id="168" creationId="{B12C8D30-D43E-4CCF-B60E-A62AA55500DA}"/>
          </ac:spMkLst>
        </pc:spChg>
        <pc:spChg chg="mod">
          <ac:chgData name="Adèle DUCURTIL" userId="4cc4c274-2099-4ec9-9ef7-59e8b8faf7f4" providerId="ADAL" clId="{16B19183-0D00-42BB-9D68-0C157ABE533B}" dt="2021-03-08T13:36:19.961" v="491"/>
          <ac:spMkLst>
            <pc:docMk/>
            <pc:sldMk cId="2701412712" sldId="7332"/>
            <ac:spMk id="169" creationId="{A7585CD4-1851-4C57-8433-BF5BD49A9D1E}"/>
          </ac:spMkLst>
        </pc:spChg>
        <pc:spChg chg="mod ord">
          <ac:chgData name="Adèle DUCURTIL" userId="4cc4c274-2099-4ec9-9ef7-59e8b8faf7f4" providerId="ADAL" clId="{16B19183-0D00-42BB-9D68-0C157ABE533B}" dt="2021-03-08T13:36:19.945" v="479"/>
          <ac:spMkLst>
            <pc:docMk/>
            <pc:sldMk cId="2701412712" sldId="7332"/>
            <ac:spMk id="170" creationId="{57704601-FDA1-429A-9535-A530A048E5E5}"/>
          </ac:spMkLst>
        </pc:spChg>
        <pc:spChg chg="mod">
          <ac:chgData name="Adèle DUCURTIL" userId="4cc4c274-2099-4ec9-9ef7-59e8b8faf7f4" providerId="ADAL" clId="{16B19183-0D00-42BB-9D68-0C157ABE533B}" dt="2021-03-08T13:36:19.961" v="496"/>
          <ac:spMkLst>
            <pc:docMk/>
            <pc:sldMk cId="2701412712" sldId="7332"/>
            <ac:spMk id="171" creationId="{63B0AE7D-BDAD-421B-869C-D24C4DB2D431}"/>
          </ac:spMkLst>
        </pc:spChg>
        <pc:spChg chg="mod">
          <ac:chgData name="Adèle DUCURTIL" userId="4cc4c274-2099-4ec9-9ef7-59e8b8faf7f4" providerId="ADAL" clId="{16B19183-0D00-42BB-9D68-0C157ABE533B}" dt="2021-03-08T13:36:19.961" v="506"/>
          <ac:spMkLst>
            <pc:docMk/>
            <pc:sldMk cId="2701412712" sldId="7332"/>
            <ac:spMk id="172" creationId="{73C150B7-E04D-41B3-BFDC-855CEFA54A06}"/>
          </ac:spMkLst>
        </pc:spChg>
        <pc:spChg chg="mod">
          <ac:chgData name="Adèle DUCURTIL" userId="4cc4c274-2099-4ec9-9ef7-59e8b8faf7f4" providerId="ADAL" clId="{16B19183-0D00-42BB-9D68-0C157ABE533B}" dt="2021-03-08T13:36:19.961" v="492"/>
          <ac:spMkLst>
            <pc:docMk/>
            <pc:sldMk cId="2701412712" sldId="7332"/>
            <ac:spMk id="173" creationId="{B3A85013-27C7-4AC9-B6F2-FC2A065C92FF}"/>
          </ac:spMkLst>
        </pc:spChg>
        <pc:spChg chg="mod">
          <ac:chgData name="Adèle DUCURTIL" userId="4cc4c274-2099-4ec9-9ef7-59e8b8faf7f4" providerId="ADAL" clId="{16B19183-0D00-42BB-9D68-0C157ABE533B}" dt="2021-03-08T13:36:19.961" v="500"/>
          <ac:spMkLst>
            <pc:docMk/>
            <pc:sldMk cId="2701412712" sldId="7332"/>
            <ac:spMk id="174" creationId="{961B3912-02E0-476F-9443-E66DCF6A8DD5}"/>
          </ac:spMkLst>
        </pc:spChg>
        <pc:spChg chg="mod">
          <ac:chgData name="Adèle DUCURTIL" userId="4cc4c274-2099-4ec9-9ef7-59e8b8faf7f4" providerId="ADAL" clId="{16B19183-0D00-42BB-9D68-0C157ABE533B}" dt="2021-03-08T13:36:19.961" v="490"/>
          <ac:spMkLst>
            <pc:docMk/>
            <pc:sldMk cId="2701412712" sldId="7332"/>
            <ac:spMk id="175" creationId="{EEAF0D44-F8B4-4C9C-AE2B-063E9E9B5A63}"/>
          </ac:spMkLst>
        </pc:spChg>
        <pc:spChg chg="mod">
          <ac:chgData name="Adèle DUCURTIL" userId="4cc4c274-2099-4ec9-9ef7-59e8b8faf7f4" providerId="ADAL" clId="{16B19183-0D00-42BB-9D68-0C157ABE533B}" dt="2021-03-08T13:36:19.961" v="497"/>
          <ac:spMkLst>
            <pc:docMk/>
            <pc:sldMk cId="2701412712" sldId="7332"/>
            <ac:spMk id="176" creationId="{A0A18266-BDBC-49BD-A056-1D980292D708}"/>
          </ac:spMkLst>
        </pc:spChg>
        <pc:spChg chg="mod">
          <ac:chgData name="Adèle DUCURTIL" userId="4cc4c274-2099-4ec9-9ef7-59e8b8faf7f4" providerId="ADAL" clId="{16B19183-0D00-42BB-9D68-0C157ABE533B}" dt="2021-03-08T13:36:19.945" v="476"/>
          <ac:spMkLst>
            <pc:docMk/>
            <pc:sldMk cId="2701412712" sldId="7332"/>
            <ac:spMk id="177" creationId="{98087942-881E-4D83-BD07-1B7DFA44E90B}"/>
          </ac:spMkLst>
        </pc:spChg>
        <pc:spChg chg="mod">
          <ac:chgData name="Adèle DUCURTIL" userId="4cc4c274-2099-4ec9-9ef7-59e8b8faf7f4" providerId="ADAL" clId="{16B19183-0D00-42BB-9D68-0C157ABE533B}" dt="2021-03-08T13:36:19.961" v="495"/>
          <ac:spMkLst>
            <pc:docMk/>
            <pc:sldMk cId="2701412712" sldId="7332"/>
            <ac:spMk id="178" creationId="{4114460A-A6ED-428D-AC77-157401BF71B0}"/>
          </ac:spMkLst>
        </pc:spChg>
        <pc:spChg chg="mod">
          <ac:chgData name="Adèle DUCURTIL" userId="4cc4c274-2099-4ec9-9ef7-59e8b8faf7f4" providerId="ADAL" clId="{16B19183-0D00-42BB-9D68-0C157ABE533B}" dt="2021-03-08T13:36:19.945" v="477"/>
          <ac:spMkLst>
            <pc:docMk/>
            <pc:sldMk cId="2701412712" sldId="7332"/>
            <ac:spMk id="179" creationId="{8C0E345A-3C62-4345-A6A6-ED6D23D26C46}"/>
          </ac:spMkLst>
        </pc:spChg>
        <pc:spChg chg="mod">
          <ac:chgData name="Adèle DUCURTIL" userId="4cc4c274-2099-4ec9-9ef7-59e8b8faf7f4" providerId="ADAL" clId="{16B19183-0D00-42BB-9D68-0C157ABE533B}" dt="2021-03-08T13:36:19.961" v="507"/>
          <ac:spMkLst>
            <pc:docMk/>
            <pc:sldMk cId="2701412712" sldId="7332"/>
            <ac:spMk id="180" creationId="{196E37F8-2023-426A-93FD-D8701BBC5501}"/>
          </ac:spMkLst>
        </pc:spChg>
        <pc:spChg chg="mod">
          <ac:chgData name="Adèle DUCURTIL" userId="4cc4c274-2099-4ec9-9ef7-59e8b8faf7f4" providerId="ADAL" clId="{16B19183-0D00-42BB-9D68-0C157ABE533B}" dt="2021-03-08T13:36:19.961" v="508"/>
          <ac:spMkLst>
            <pc:docMk/>
            <pc:sldMk cId="2701412712" sldId="7332"/>
            <ac:spMk id="181" creationId="{06F854A8-C1A6-4563-BC36-A0F2AC4D87D2}"/>
          </ac:spMkLst>
        </pc:spChg>
        <pc:spChg chg="mod ord">
          <ac:chgData name="Adèle DUCURTIL" userId="4cc4c274-2099-4ec9-9ef7-59e8b8faf7f4" providerId="ADAL" clId="{16B19183-0D00-42BB-9D68-0C157ABE533B}" dt="2021-03-08T13:36:19.961" v="512"/>
          <ac:spMkLst>
            <pc:docMk/>
            <pc:sldMk cId="2701412712" sldId="7332"/>
            <ac:spMk id="182" creationId="{6C565E8B-F496-454F-80C5-2992CC718278}"/>
          </ac:spMkLst>
        </pc:spChg>
        <pc:spChg chg="mod ord">
          <ac:chgData name="Adèle DUCURTIL" userId="4cc4c274-2099-4ec9-9ef7-59e8b8faf7f4" providerId="ADAL" clId="{16B19183-0D00-42BB-9D68-0C157ABE533B}" dt="2021-03-08T13:36:19.961" v="514"/>
          <ac:spMkLst>
            <pc:docMk/>
            <pc:sldMk cId="2701412712" sldId="7332"/>
            <ac:spMk id="183" creationId="{9AFF5363-CE07-4936-8748-9D7B13ECE13F}"/>
          </ac:spMkLst>
        </pc:spChg>
        <pc:spChg chg="mod">
          <ac:chgData name="Adèle DUCURTIL" userId="4cc4c274-2099-4ec9-9ef7-59e8b8faf7f4" providerId="ADAL" clId="{16B19183-0D00-42BB-9D68-0C157ABE533B}" dt="2021-03-08T13:36:19.945" v="447"/>
          <ac:spMkLst>
            <pc:docMk/>
            <pc:sldMk cId="2701412712" sldId="7332"/>
            <ac:spMk id="219" creationId="{CA278E1B-2FC1-4324-9AE9-42BA72DACFC1}"/>
          </ac:spMkLst>
        </pc:spChg>
        <pc:spChg chg="mod ord">
          <ac:chgData name="Adèle DUCURTIL" userId="4cc4c274-2099-4ec9-9ef7-59e8b8faf7f4" providerId="ADAL" clId="{16B19183-0D00-42BB-9D68-0C157ABE533B}" dt="2021-03-08T13:36:19.945" v="425"/>
          <ac:spMkLst>
            <pc:docMk/>
            <pc:sldMk cId="2701412712" sldId="7332"/>
            <ac:spMk id="220" creationId="{D2D2AD5C-D7D9-423C-8411-EDE40062E9E7}"/>
          </ac:spMkLst>
        </pc:spChg>
        <pc:spChg chg="mod">
          <ac:chgData name="Adèle DUCURTIL" userId="4cc4c274-2099-4ec9-9ef7-59e8b8faf7f4" providerId="ADAL" clId="{16B19183-0D00-42BB-9D68-0C157ABE533B}" dt="2021-03-08T13:36:19.945" v="422"/>
          <ac:spMkLst>
            <pc:docMk/>
            <pc:sldMk cId="2701412712" sldId="7332"/>
            <ac:spMk id="222" creationId="{1819E44A-4100-47F7-9CBC-80805882C80C}"/>
          </ac:spMkLst>
        </pc:spChg>
        <pc:spChg chg="mod">
          <ac:chgData name="Adèle DUCURTIL" userId="4cc4c274-2099-4ec9-9ef7-59e8b8faf7f4" providerId="ADAL" clId="{16B19183-0D00-42BB-9D68-0C157ABE533B}" dt="2021-03-08T13:36:19.945" v="423"/>
          <ac:spMkLst>
            <pc:docMk/>
            <pc:sldMk cId="2701412712" sldId="7332"/>
            <ac:spMk id="223" creationId="{3E2BACA9-BCE9-45C6-94CC-F7E252A1E93D}"/>
          </ac:spMkLst>
        </pc:spChg>
        <pc:spChg chg="mod">
          <ac:chgData name="Adèle DUCURTIL" userId="4cc4c274-2099-4ec9-9ef7-59e8b8faf7f4" providerId="ADAL" clId="{16B19183-0D00-42BB-9D68-0C157ABE533B}" dt="2021-03-08T13:36:19.945" v="449"/>
          <ac:spMkLst>
            <pc:docMk/>
            <pc:sldMk cId="2701412712" sldId="7332"/>
            <ac:spMk id="224" creationId="{B6418F71-ED95-4896-8D91-641FAE51336D}"/>
          </ac:spMkLst>
        </pc:spChg>
        <pc:spChg chg="mod">
          <ac:chgData name="Adèle DUCURTIL" userId="4cc4c274-2099-4ec9-9ef7-59e8b8faf7f4" providerId="ADAL" clId="{16B19183-0D00-42BB-9D68-0C157ABE533B}" dt="2021-03-08T13:36:19.945" v="432"/>
          <ac:spMkLst>
            <pc:docMk/>
            <pc:sldMk cId="2701412712" sldId="7332"/>
            <ac:spMk id="255" creationId="{68CEB430-045A-4778-BFCA-54106FFB1A78}"/>
          </ac:spMkLst>
        </pc:spChg>
        <pc:spChg chg="mod">
          <ac:chgData name="Adèle DUCURTIL" userId="4cc4c274-2099-4ec9-9ef7-59e8b8faf7f4" providerId="ADAL" clId="{16B19183-0D00-42BB-9D68-0C157ABE533B}" dt="2021-03-08T13:36:19.945" v="429"/>
          <ac:spMkLst>
            <pc:docMk/>
            <pc:sldMk cId="2701412712" sldId="7332"/>
            <ac:spMk id="259" creationId="{00DB6482-80EE-4A5D-B495-712C99801888}"/>
          </ac:spMkLst>
        </pc:spChg>
        <pc:spChg chg="mod ord">
          <ac:chgData name="Adèle DUCURTIL" userId="4cc4c274-2099-4ec9-9ef7-59e8b8faf7f4" providerId="ADAL" clId="{16B19183-0D00-42BB-9D68-0C157ABE533B}" dt="2021-03-08T13:36:19.945" v="443"/>
          <ac:spMkLst>
            <pc:docMk/>
            <pc:sldMk cId="2701412712" sldId="7332"/>
            <ac:spMk id="263" creationId="{2DD5C219-0A1E-4C91-9C3C-2ECADD6ECA72}"/>
          </ac:spMkLst>
        </pc:spChg>
        <pc:spChg chg="mod">
          <ac:chgData name="Adèle DUCURTIL" userId="4cc4c274-2099-4ec9-9ef7-59e8b8faf7f4" providerId="ADAL" clId="{16B19183-0D00-42BB-9D68-0C157ABE533B}" dt="2021-03-08T13:36:19.945" v="427"/>
          <ac:spMkLst>
            <pc:docMk/>
            <pc:sldMk cId="2701412712" sldId="7332"/>
            <ac:spMk id="267" creationId="{BEC1A8A5-D147-4994-8DC5-E0EBD78F44D0}"/>
          </ac:spMkLst>
        </pc:spChg>
        <pc:spChg chg="mod">
          <ac:chgData name="Adèle DUCURTIL" userId="4cc4c274-2099-4ec9-9ef7-59e8b8faf7f4" providerId="ADAL" clId="{16B19183-0D00-42BB-9D68-0C157ABE533B}" dt="2021-03-08T13:36:19.945" v="433"/>
          <ac:spMkLst>
            <pc:docMk/>
            <pc:sldMk cId="2701412712" sldId="7332"/>
            <ac:spMk id="272" creationId="{E2E776D2-D89A-4EFF-A45B-6D1ABB504DF5}"/>
          </ac:spMkLst>
        </pc:spChg>
        <pc:spChg chg="mod">
          <ac:chgData name="Adèle DUCURTIL" userId="4cc4c274-2099-4ec9-9ef7-59e8b8faf7f4" providerId="ADAL" clId="{16B19183-0D00-42BB-9D68-0C157ABE533B}" dt="2021-03-08T13:36:19.945" v="426"/>
          <ac:spMkLst>
            <pc:docMk/>
            <pc:sldMk cId="2701412712" sldId="7332"/>
            <ac:spMk id="288" creationId="{EAF36915-6B90-46A9-A15F-822637FDA16A}"/>
          </ac:spMkLst>
        </pc:spChg>
        <pc:spChg chg="mod">
          <ac:chgData name="Adèle DUCURTIL" userId="4cc4c274-2099-4ec9-9ef7-59e8b8faf7f4" providerId="ADAL" clId="{16B19183-0D00-42BB-9D68-0C157ABE533B}" dt="2021-03-08T13:36:19.945" v="452"/>
          <ac:spMkLst>
            <pc:docMk/>
            <pc:sldMk cId="2701412712" sldId="7332"/>
            <ac:spMk id="289" creationId="{81A31DB8-99C4-4548-81F7-3EA9E7029446}"/>
          </ac:spMkLst>
        </pc:spChg>
        <pc:spChg chg="mod">
          <ac:chgData name="Adèle DUCURTIL" userId="4cc4c274-2099-4ec9-9ef7-59e8b8faf7f4" providerId="ADAL" clId="{16B19183-0D00-42BB-9D68-0C157ABE533B}" dt="2021-03-08T13:36:19.945" v="445"/>
          <ac:spMkLst>
            <pc:docMk/>
            <pc:sldMk cId="2701412712" sldId="7332"/>
            <ac:spMk id="296" creationId="{F3E8D5A5-F2FF-4E71-84E2-BE238D102ABF}"/>
          </ac:spMkLst>
        </pc:spChg>
        <pc:spChg chg="mod ord">
          <ac:chgData name="Adèle DUCURTIL" userId="4cc4c274-2099-4ec9-9ef7-59e8b8faf7f4" providerId="ADAL" clId="{16B19183-0D00-42BB-9D68-0C157ABE533B}" dt="2021-03-08T13:36:19.945" v="436"/>
          <ac:spMkLst>
            <pc:docMk/>
            <pc:sldMk cId="2701412712" sldId="7332"/>
            <ac:spMk id="297" creationId="{73192C54-BCE2-466F-A521-55F015D7D8E4}"/>
          </ac:spMkLst>
        </pc:spChg>
        <pc:spChg chg="mod">
          <ac:chgData name="Adèle DUCURTIL" userId="4cc4c274-2099-4ec9-9ef7-59e8b8faf7f4" providerId="ADAL" clId="{16B19183-0D00-42BB-9D68-0C157ABE533B}" dt="2021-03-08T13:36:19.945" v="451"/>
          <ac:spMkLst>
            <pc:docMk/>
            <pc:sldMk cId="2701412712" sldId="7332"/>
            <ac:spMk id="329" creationId="{D50DF1BF-E8E1-441A-8845-000F39BED6EE}"/>
          </ac:spMkLst>
        </pc:spChg>
        <pc:spChg chg="mod ord">
          <ac:chgData name="Adèle DUCURTIL" userId="4cc4c274-2099-4ec9-9ef7-59e8b8faf7f4" providerId="ADAL" clId="{16B19183-0D00-42BB-9D68-0C157ABE533B}" dt="2021-03-08T13:36:19.961" v="518"/>
          <ac:spMkLst>
            <pc:docMk/>
            <pc:sldMk cId="2701412712" sldId="7332"/>
            <ac:spMk id="364" creationId="{8451D16B-D84D-482A-A648-2750F628332B}"/>
          </ac:spMkLst>
        </pc:spChg>
        <pc:spChg chg="mod ord">
          <ac:chgData name="Adèle DUCURTIL" userId="4cc4c274-2099-4ec9-9ef7-59e8b8faf7f4" providerId="ADAL" clId="{16B19183-0D00-42BB-9D68-0C157ABE533B}" dt="2021-03-08T13:36:19.961" v="520"/>
          <ac:spMkLst>
            <pc:docMk/>
            <pc:sldMk cId="2701412712" sldId="7332"/>
            <ac:spMk id="365" creationId="{7B9D39F4-D9E1-44B7-A08C-EF3E7594E2EB}"/>
          </ac:spMkLst>
        </pc:spChg>
        <pc:spChg chg="mod ord">
          <ac:chgData name="Adèle DUCURTIL" userId="4cc4c274-2099-4ec9-9ef7-59e8b8faf7f4" providerId="ADAL" clId="{16B19183-0D00-42BB-9D68-0C157ABE533B}" dt="2021-03-08T13:36:19.961" v="522"/>
          <ac:spMkLst>
            <pc:docMk/>
            <pc:sldMk cId="2701412712" sldId="7332"/>
            <ac:spMk id="366" creationId="{20775784-4961-4809-A261-CC17F3A47D0C}"/>
          </ac:spMkLst>
        </pc:spChg>
        <pc:spChg chg="mod ord">
          <ac:chgData name="Adèle DUCURTIL" userId="4cc4c274-2099-4ec9-9ef7-59e8b8faf7f4" providerId="ADAL" clId="{16B19183-0D00-42BB-9D68-0C157ABE533B}" dt="2021-03-08T13:36:19.961" v="524"/>
          <ac:spMkLst>
            <pc:docMk/>
            <pc:sldMk cId="2701412712" sldId="7332"/>
            <ac:spMk id="367" creationId="{39AFC2BA-3A2E-4D08-B9F4-61D23BD9FDA2}"/>
          </ac:spMkLst>
        </pc:spChg>
        <pc:spChg chg="mod ord">
          <ac:chgData name="Adèle DUCURTIL" userId="4cc4c274-2099-4ec9-9ef7-59e8b8faf7f4" providerId="ADAL" clId="{16B19183-0D00-42BB-9D68-0C157ABE533B}" dt="2021-03-08T13:36:19.961" v="532"/>
          <ac:spMkLst>
            <pc:docMk/>
            <pc:sldMk cId="2701412712" sldId="7332"/>
            <ac:spMk id="375" creationId="{75237AA5-C2C5-4937-A3E0-56A8D0BA8F46}"/>
          </ac:spMkLst>
        </pc:spChg>
        <pc:spChg chg="mod ord">
          <ac:chgData name="Adèle DUCURTIL" userId="4cc4c274-2099-4ec9-9ef7-59e8b8faf7f4" providerId="ADAL" clId="{16B19183-0D00-42BB-9D68-0C157ABE533B}" dt="2021-03-08T13:36:19.945" v="440"/>
          <ac:spMkLst>
            <pc:docMk/>
            <pc:sldMk cId="2701412712" sldId="7332"/>
            <ac:spMk id="517" creationId="{C440CC15-4AE3-4056-9425-7F7A210842B9}"/>
          </ac:spMkLst>
        </pc:spChg>
        <pc:spChg chg="mod ord">
          <ac:chgData name="Adèle DUCURTIL" userId="4cc4c274-2099-4ec9-9ef7-59e8b8faf7f4" providerId="ADAL" clId="{16B19183-0D00-42BB-9D68-0C157ABE533B}" dt="2021-03-08T13:36:19.945" v="438"/>
          <ac:spMkLst>
            <pc:docMk/>
            <pc:sldMk cId="2701412712" sldId="7332"/>
            <ac:spMk id="518" creationId="{157B2CC6-7B52-42E8-AFB0-C3044E16B40A}"/>
          </ac:spMkLst>
        </pc:spChg>
        <pc:spChg chg="mod">
          <ac:chgData name="Adèle DUCURTIL" userId="4cc4c274-2099-4ec9-9ef7-59e8b8faf7f4" providerId="ADAL" clId="{16B19183-0D00-42BB-9D68-0C157ABE533B}" dt="2021-03-08T13:36:19.945" v="441"/>
          <ac:spMkLst>
            <pc:docMk/>
            <pc:sldMk cId="2701412712" sldId="7332"/>
            <ac:spMk id="522" creationId="{58D131E2-9FEE-400C-9752-106D76B01B3B}"/>
          </ac:spMkLst>
        </pc:spChg>
        <pc:spChg chg="mod">
          <ac:chgData name="Adèle DUCURTIL" userId="4cc4c274-2099-4ec9-9ef7-59e8b8faf7f4" providerId="ADAL" clId="{16B19183-0D00-42BB-9D68-0C157ABE533B}" dt="2021-03-08T13:36:19.945" v="444"/>
          <ac:spMkLst>
            <pc:docMk/>
            <pc:sldMk cId="2701412712" sldId="7332"/>
            <ac:spMk id="525" creationId="{2A182D36-6F04-41A8-8378-E861F36D826D}"/>
          </ac:spMkLst>
        </pc:spChg>
        <pc:spChg chg="mod">
          <ac:chgData name="Adèle DUCURTIL" userId="4cc4c274-2099-4ec9-9ef7-59e8b8faf7f4" providerId="ADAL" clId="{16B19183-0D00-42BB-9D68-0C157ABE533B}" dt="2021-03-08T13:36:19.945" v="448"/>
          <ac:spMkLst>
            <pc:docMk/>
            <pc:sldMk cId="2701412712" sldId="7332"/>
            <ac:spMk id="528" creationId="{BD3A1620-027C-4D80-AF03-BF7FF0113D73}"/>
          </ac:spMkLst>
        </pc:spChg>
        <pc:spChg chg="mod">
          <ac:chgData name="Adèle DUCURTIL" userId="4cc4c274-2099-4ec9-9ef7-59e8b8faf7f4" providerId="ADAL" clId="{16B19183-0D00-42BB-9D68-0C157ABE533B}" dt="2021-03-08T13:36:19.945" v="434"/>
          <ac:spMkLst>
            <pc:docMk/>
            <pc:sldMk cId="2701412712" sldId="7332"/>
            <ac:spMk id="531" creationId="{2A507AB9-B0CA-47BA-BE9F-E1401C93FD5B}"/>
          </ac:spMkLst>
        </pc:spChg>
        <pc:spChg chg="mod">
          <ac:chgData name="Adèle DUCURTIL" userId="4cc4c274-2099-4ec9-9ef7-59e8b8faf7f4" providerId="ADAL" clId="{16B19183-0D00-42BB-9D68-0C157ABE533B}" dt="2021-03-08T13:36:19.945" v="473"/>
          <ac:spMkLst>
            <pc:docMk/>
            <pc:sldMk cId="2701412712" sldId="7332"/>
            <ac:spMk id="553" creationId="{5FF8C4CA-A034-4CDD-A5B8-BFAFBBC2DBC2}"/>
          </ac:spMkLst>
        </pc:spChg>
        <pc:graphicFrameChg chg="mod ord">
          <ac:chgData name="Adèle DUCURTIL" userId="4cc4c274-2099-4ec9-9ef7-59e8b8faf7f4" providerId="ADAL" clId="{16B19183-0D00-42BB-9D68-0C157ABE533B}" dt="2021-03-08T13:36:19.976" v="546"/>
          <ac:graphicFrameMkLst>
            <pc:docMk/>
            <pc:sldMk cId="2701412712" sldId="7332"/>
            <ac:graphicFrameMk id="9" creationId="{777857E2-6DF1-48EF-BB3F-BB1531140D04}"/>
          </ac:graphicFrameMkLst>
        </pc:graphicFrameChg>
        <pc:graphicFrameChg chg="add mod ord">
          <ac:chgData name="Adèle DUCURTIL" userId="4cc4c274-2099-4ec9-9ef7-59e8b8faf7f4" providerId="ADAL" clId="{16B19183-0D00-42BB-9D68-0C157ABE533B}" dt="2021-03-08T13:36:19.945" v="420"/>
          <ac:graphicFrameMkLst>
            <pc:docMk/>
            <pc:sldMk cId="2701412712" sldId="7332"/>
            <ac:graphicFrameMk id="106" creationId="{C6E861D8-FF50-4A9D-8C9E-FA26DFC92865}"/>
          </ac:graphicFrameMkLst>
        </pc:graphicFrameChg>
        <pc:graphicFrameChg chg="add mod ord">
          <ac:chgData name="Adèle DUCURTIL" userId="4cc4c274-2099-4ec9-9ef7-59e8b8faf7f4" providerId="ADAL" clId="{16B19183-0D00-42BB-9D68-0C157ABE533B}" dt="2021-03-08T13:36:19.945" v="475"/>
          <ac:graphicFrameMkLst>
            <pc:docMk/>
            <pc:sldMk cId="2701412712" sldId="7332"/>
            <ac:graphicFrameMk id="108" creationId="{42210475-EE06-4FF6-9CAB-C4715876183A}"/>
          </ac:graphicFrameMkLst>
        </pc:graphicFrameChg>
        <pc:graphicFrameChg chg="del">
          <ac:chgData name="Adèle DUCURTIL" userId="4cc4c274-2099-4ec9-9ef7-59e8b8faf7f4" providerId="ADAL" clId="{16B19183-0D00-42BB-9D68-0C157ABE533B}" dt="2021-03-08T13:36:19.916" v="376"/>
          <ac:graphicFrameMkLst>
            <pc:docMk/>
            <pc:sldMk cId="2701412712" sldId="7332"/>
            <ac:graphicFrameMk id="270" creationId="{5114F1FC-DEFF-427B-BE5D-F8C348001F67}"/>
          </ac:graphicFrameMkLst>
        </pc:graphicFrameChg>
        <pc:graphicFrameChg chg="del">
          <ac:chgData name="Adèle DUCURTIL" userId="4cc4c274-2099-4ec9-9ef7-59e8b8faf7f4" providerId="ADAL" clId="{16B19183-0D00-42BB-9D68-0C157ABE533B}" dt="2021-03-08T13:36:19.717" v="208"/>
          <ac:graphicFrameMkLst>
            <pc:docMk/>
            <pc:sldMk cId="2701412712" sldId="7332"/>
            <ac:graphicFrameMk id="362" creationId="{26A40428-0637-4798-B382-737E52A2A329}"/>
          </ac:graphicFrameMkLst>
        </pc:graphicFrameChg>
        <pc:picChg chg="mod ord">
          <ac:chgData name="Adèle DUCURTIL" userId="4cc4c274-2099-4ec9-9ef7-59e8b8faf7f4" providerId="ADAL" clId="{16B19183-0D00-42BB-9D68-0C157ABE533B}" dt="2021-03-08T13:36:19.961" v="542"/>
          <ac:picMkLst>
            <pc:docMk/>
            <pc:sldMk cId="2701412712" sldId="7332"/>
            <ac:picMk id="105" creationId="{D159A7B6-24CE-47EC-B737-1493A7F6969A}"/>
          </ac:picMkLst>
        </pc:picChg>
        <pc:picChg chg="mod ord">
          <ac:chgData name="Adèle DUCURTIL" userId="4cc4c274-2099-4ec9-9ef7-59e8b8faf7f4" providerId="ADAL" clId="{16B19183-0D00-42BB-9D68-0C157ABE533B}" dt="2021-03-08T13:36:19.961" v="526"/>
          <ac:picMkLst>
            <pc:docMk/>
            <pc:sldMk cId="2701412712" sldId="7332"/>
            <ac:picMk id="368" creationId="{268BD060-9FCB-4D62-ADC6-651D153060D3}"/>
          </ac:picMkLst>
        </pc:picChg>
        <pc:picChg chg="mod ord">
          <ac:chgData name="Adèle DUCURTIL" userId="4cc4c274-2099-4ec9-9ef7-59e8b8faf7f4" providerId="ADAL" clId="{16B19183-0D00-42BB-9D68-0C157ABE533B}" dt="2021-03-08T13:36:19.961" v="528"/>
          <ac:picMkLst>
            <pc:docMk/>
            <pc:sldMk cId="2701412712" sldId="7332"/>
            <ac:picMk id="369" creationId="{633B5CDB-D3DE-4162-B9EF-7BD317CCA802}"/>
          </ac:picMkLst>
        </pc:picChg>
        <pc:picChg chg="mod ord">
          <ac:chgData name="Adèle DUCURTIL" userId="4cc4c274-2099-4ec9-9ef7-59e8b8faf7f4" providerId="ADAL" clId="{16B19183-0D00-42BB-9D68-0C157ABE533B}" dt="2021-03-08T13:36:19.961" v="530"/>
          <ac:picMkLst>
            <pc:docMk/>
            <pc:sldMk cId="2701412712" sldId="7332"/>
            <ac:picMk id="370" creationId="{FFD71595-106D-48B7-B1D3-F72940A76F46}"/>
          </ac:picMkLst>
        </pc:picChg>
        <pc:picChg chg="mod ord">
          <ac:chgData name="Adèle DUCURTIL" userId="4cc4c274-2099-4ec9-9ef7-59e8b8faf7f4" providerId="ADAL" clId="{16B19183-0D00-42BB-9D68-0C157ABE533B}" dt="2021-03-08T13:36:19.961" v="534"/>
          <ac:picMkLst>
            <pc:docMk/>
            <pc:sldMk cId="2701412712" sldId="7332"/>
            <ac:picMk id="377" creationId="{4B951238-55D0-4FA6-A942-43204ADE6DC8}"/>
          </ac:picMkLst>
        </pc:picChg>
        <pc:picChg chg="mod ord">
          <ac:chgData name="Adèle DUCURTIL" userId="4cc4c274-2099-4ec9-9ef7-59e8b8faf7f4" providerId="ADAL" clId="{16B19183-0D00-42BB-9D68-0C157ABE533B}" dt="2021-03-08T13:36:19.961" v="536"/>
          <ac:picMkLst>
            <pc:docMk/>
            <pc:sldMk cId="2701412712" sldId="7332"/>
            <ac:picMk id="378" creationId="{188E78B5-09E6-4A1F-A43A-842706C12454}"/>
          </ac:picMkLst>
        </pc:picChg>
        <pc:picChg chg="mod ord">
          <ac:chgData name="Adèle DUCURTIL" userId="4cc4c274-2099-4ec9-9ef7-59e8b8faf7f4" providerId="ADAL" clId="{16B19183-0D00-42BB-9D68-0C157ABE533B}" dt="2021-03-08T13:36:19.961" v="538"/>
          <ac:picMkLst>
            <pc:docMk/>
            <pc:sldMk cId="2701412712" sldId="7332"/>
            <ac:picMk id="379" creationId="{9542EFEE-DF68-491E-81FD-BE2B60ADA303}"/>
          </ac:picMkLst>
        </pc:picChg>
        <pc:cxnChg chg="mod ord">
          <ac:chgData name="Adèle DUCURTIL" userId="4cc4c274-2099-4ec9-9ef7-59e8b8faf7f4" providerId="ADAL" clId="{16B19183-0D00-42BB-9D68-0C157ABE533B}" dt="2021-03-08T13:36:19.945" v="458"/>
          <ac:cxnSpMkLst>
            <pc:docMk/>
            <pc:sldMk cId="2701412712" sldId="7332"/>
            <ac:cxnSpMk id="30" creationId="{87170DDA-478F-4AAA-820D-FECB02AEA468}"/>
          </ac:cxnSpMkLst>
        </pc:cxnChg>
        <pc:cxnChg chg="mod ord">
          <ac:chgData name="Adèle DUCURTIL" userId="4cc4c274-2099-4ec9-9ef7-59e8b8faf7f4" providerId="ADAL" clId="{16B19183-0D00-42BB-9D68-0C157ABE533B}" dt="2021-03-08T13:36:19.945" v="412"/>
          <ac:cxnSpMkLst>
            <pc:docMk/>
            <pc:sldMk cId="2701412712" sldId="7332"/>
            <ac:cxnSpMk id="107" creationId="{F9D526AB-3471-4F86-B3A2-90C5348CD531}"/>
          </ac:cxnSpMkLst>
        </pc:cxnChg>
        <pc:cxnChg chg="mod ord">
          <ac:chgData name="Adèle DUCURTIL" userId="4cc4c274-2099-4ec9-9ef7-59e8b8faf7f4" providerId="ADAL" clId="{16B19183-0D00-42BB-9D68-0C157ABE533B}" dt="2021-03-08T13:36:19.945" v="472"/>
          <ac:cxnSpMkLst>
            <pc:docMk/>
            <pc:sldMk cId="2701412712" sldId="7332"/>
            <ac:cxnSpMk id="147" creationId="{FF618154-BF79-45DC-A65C-1552CCABE6DA}"/>
          </ac:cxnSpMkLst>
        </pc:cxnChg>
        <pc:cxnChg chg="mod ord">
          <ac:chgData name="Adèle DUCURTIL" userId="4cc4c274-2099-4ec9-9ef7-59e8b8faf7f4" providerId="ADAL" clId="{16B19183-0D00-42BB-9D68-0C157ABE533B}" dt="2021-03-08T13:36:19.945" v="462"/>
          <ac:cxnSpMkLst>
            <pc:docMk/>
            <pc:sldMk cId="2701412712" sldId="7332"/>
            <ac:cxnSpMk id="148" creationId="{FDE428FE-F16B-43EE-8CE7-6D4689515B47}"/>
          </ac:cxnSpMkLst>
        </pc:cxnChg>
        <pc:cxnChg chg="mod ord">
          <ac:chgData name="Adèle DUCURTIL" userId="4cc4c274-2099-4ec9-9ef7-59e8b8faf7f4" providerId="ADAL" clId="{16B19183-0D00-42BB-9D68-0C157ABE533B}" dt="2021-03-08T13:36:19.945" v="464"/>
          <ac:cxnSpMkLst>
            <pc:docMk/>
            <pc:sldMk cId="2701412712" sldId="7332"/>
            <ac:cxnSpMk id="149" creationId="{252CAB78-7322-48A8-98FF-411A2DAF1331}"/>
          </ac:cxnSpMkLst>
        </pc:cxnChg>
        <pc:cxnChg chg="mod ord">
          <ac:chgData name="Adèle DUCURTIL" userId="4cc4c274-2099-4ec9-9ef7-59e8b8faf7f4" providerId="ADAL" clId="{16B19183-0D00-42BB-9D68-0C157ABE533B}" dt="2021-03-08T13:36:19.945" v="466"/>
          <ac:cxnSpMkLst>
            <pc:docMk/>
            <pc:sldMk cId="2701412712" sldId="7332"/>
            <ac:cxnSpMk id="150" creationId="{414324AB-672B-4E59-90FC-8FDD0E63742D}"/>
          </ac:cxnSpMkLst>
        </pc:cxnChg>
        <pc:cxnChg chg="mod ord">
          <ac:chgData name="Adèle DUCURTIL" userId="4cc4c274-2099-4ec9-9ef7-59e8b8faf7f4" providerId="ADAL" clId="{16B19183-0D00-42BB-9D68-0C157ABE533B}" dt="2021-03-08T13:36:19.945" v="470"/>
          <ac:cxnSpMkLst>
            <pc:docMk/>
            <pc:sldMk cId="2701412712" sldId="7332"/>
            <ac:cxnSpMk id="151" creationId="{8BC32E13-4C3B-4F85-BF6B-9C35C090CE9B}"/>
          </ac:cxnSpMkLst>
        </pc:cxnChg>
        <pc:cxnChg chg="mod ord">
          <ac:chgData name="Adèle DUCURTIL" userId="4cc4c274-2099-4ec9-9ef7-59e8b8faf7f4" providerId="ADAL" clId="{16B19183-0D00-42BB-9D68-0C157ABE533B}" dt="2021-03-08T13:36:19.945" v="468"/>
          <ac:cxnSpMkLst>
            <pc:docMk/>
            <pc:sldMk cId="2701412712" sldId="7332"/>
            <ac:cxnSpMk id="152" creationId="{94E8A521-F49C-4FD6-9D2E-A8901F7D7E4A}"/>
          </ac:cxnSpMkLst>
        </pc:cxnChg>
        <pc:cxnChg chg="mod ord">
          <ac:chgData name="Adèle DUCURTIL" userId="4cc4c274-2099-4ec9-9ef7-59e8b8faf7f4" providerId="ADAL" clId="{16B19183-0D00-42BB-9D68-0C157ABE533B}" dt="2021-03-08T13:36:19.945" v="460"/>
          <ac:cxnSpMkLst>
            <pc:docMk/>
            <pc:sldMk cId="2701412712" sldId="7332"/>
            <ac:cxnSpMk id="153" creationId="{B7F4C317-CACC-45E0-A1D9-B06436081CCF}"/>
          </ac:cxnSpMkLst>
        </pc:cxnChg>
        <pc:cxnChg chg="mod ord">
          <ac:chgData name="Adèle DUCURTIL" userId="4cc4c274-2099-4ec9-9ef7-59e8b8faf7f4" providerId="ADAL" clId="{16B19183-0D00-42BB-9D68-0C157ABE533B}" dt="2021-03-08T13:36:19.961" v="516"/>
          <ac:cxnSpMkLst>
            <pc:docMk/>
            <pc:sldMk cId="2701412712" sldId="7332"/>
            <ac:cxnSpMk id="184" creationId="{84B76F94-D778-48C5-8FC9-6D5C2D8CCE4B}"/>
          </ac:cxnSpMkLst>
        </pc:cxnChg>
        <pc:cxnChg chg="mod ord">
          <ac:chgData name="Adèle DUCURTIL" userId="4cc4c274-2099-4ec9-9ef7-59e8b8faf7f4" providerId="ADAL" clId="{16B19183-0D00-42BB-9D68-0C157ABE533B}" dt="2021-03-08T13:36:19.945" v="414"/>
          <ac:cxnSpMkLst>
            <pc:docMk/>
            <pc:sldMk cId="2701412712" sldId="7332"/>
            <ac:cxnSpMk id="234" creationId="{119CBB82-A684-4CF6-983F-C33A85DC8643}"/>
          </ac:cxnSpMkLst>
        </pc:cxnChg>
        <pc:cxnChg chg="mod ord">
          <ac:chgData name="Adèle DUCURTIL" userId="4cc4c274-2099-4ec9-9ef7-59e8b8faf7f4" providerId="ADAL" clId="{16B19183-0D00-42BB-9D68-0C157ABE533B}" dt="2021-03-08T13:36:19.945" v="416"/>
          <ac:cxnSpMkLst>
            <pc:docMk/>
            <pc:sldMk cId="2701412712" sldId="7332"/>
            <ac:cxnSpMk id="235" creationId="{260972ED-B485-45C8-8D3F-73EFA46817A5}"/>
          </ac:cxnSpMkLst>
        </pc:cxnChg>
        <pc:cxnChg chg="mod ord">
          <ac:chgData name="Adèle DUCURTIL" userId="4cc4c274-2099-4ec9-9ef7-59e8b8faf7f4" providerId="ADAL" clId="{16B19183-0D00-42BB-9D68-0C157ABE533B}" dt="2021-03-08T13:36:19.945" v="418"/>
          <ac:cxnSpMkLst>
            <pc:docMk/>
            <pc:sldMk cId="2701412712" sldId="7332"/>
            <ac:cxnSpMk id="236" creationId="{159E5405-BAB9-4BD4-8DC1-607436A64CD9}"/>
          </ac:cxnSpMkLst>
        </pc:cxnChg>
        <pc:cxnChg chg="mod ord">
          <ac:chgData name="Adèle DUCURTIL" userId="4cc4c274-2099-4ec9-9ef7-59e8b8faf7f4" providerId="ADAL" clId="{16B19183-0D00-42BB-9D68-0C157ABE533B}" dt="2021-03-08T13:36:19.945" v="410"/>
          <ac:cxnSpMkLst>
            <pc:docMk/>
            <pc:sldMk cId="2701412712" sldId="7332"/>
            <ac:cxnSpMk id="286" creationId="{02796175-775A-4783-975E-F1573F145E89}"/>
          </ac:cxnSpMkLst>
        </pc:cxnChg>
        <pc:cxnChg chg="mod ord">
          <ac:chgData name="Adèle DUCURTIL" userId="4cc4c274-2099-4ec9-9ef7-59e8b8faf7f4" providerId="ADAL" clId="{16B19183-0D00-42BB-9D68-0C157ABE533B}" dt="2021-03-08T13:36:19.945" v="408"/>
          <ac:cxnSpMkLst>
            <pc:docMk/>
            <pc:sldMk cId="2701412712" sldId="7332"/>
            <ac:cxnSpMk id="292" creationId="{6126928B-B4BF-4B52-BD26-52CF89C7FA56}"/>
          </ac:cxnSpMkLst>
        </pc:cxnChg>
        <pc:cxnChg chg="mod ord">
          <ac:chgData name="Adèle DUCURTIL" userId="4cc4c274-2099-4ec9-9ef7-59e8b8faf7f4" providerId="ADAL" clId="{16B19183-0D00-42BB-9D68-0C157ABE533B}" dt="2021-03-08T13:36:19.945" v="406"/>
          <ac:cxnSpMkLst>
            <pc:docMk/>
            <pc:sldMk cId="2701412712" sldId="7332"/>
            <ac:cxnSpMk id="304" creationId="{F2389580-1632-4A80-B4DC-5676870CE2C0}"/>
          </ac:cxnSpMkLst>
        </pc:cxnChg>
      </pc:sldChg>
      <pc:sldChg chg="addSp delSp modSp mod">
        <pc:chgData name="Adèle DUCURTIL" userId="4cc4c274-2099-4ec9-9ef7-59e8b8faf7f4" providerId="ADAL" clId="{16B19183-0D00-42BB-9D68-0C157ABE533B}" dt="2021-03-08T13:36:21.731" v="1012"/>
        <pc:sldMkLst>
          <pc:docMk/>
          <pc:sldMk cId="1868022673" sldId="7334"/>
        </pc:sldMkLst>
        <pc:spChg chg="mod">
          <ac:chgData name="Adèle DUCURTIL" userId="4cc4c274-2099-4ec9-9ef7-59e8b8faf7f4" providerId="ADAL" clId="{16B19183-0D00-42BB-9D68-0C157ABE533B}" dt="2021-03-08T13:36:21.699" v="875"/>
          <ac:spMkLst>
            <pc:docMk/>
            <pc:sldMk cId="1868022673" sldId="7334"/>
            <ac:spMk id="2" creationId="{64576B3F-3BF3-47ED-8392-95410BFB7165}"/>
          </ac:spMkLst>
        </pc:spChg>
        <pc:spChg chg="mod ord">
          <ac:chgData name="Adèle DUCURTIL" userId="4cc4c274-2099-4ec9-9ef7-59e8b8faf7f4" providerId="ADAL" clId="{16B19183-0D00-42BB-9D68-0C157ABE533B}" dt="2021-03-08T13:36:21.699" v="877"/>
          <ac:spMkLst>
            <pc:docMk/>
            <pc:sldMk cId="1868022673" sldId="7334"/>
            <ac:spMk id="3" creationId="{54F22942-C2FD-4CBD-8EDF-A48063B3C9C0}"/>
          </ac:spMkLst>
        </pc:spChg>
        <pc:spChg chg="add del mod ord modVis">
          <ac:chgData name="Adèle DUCURTIL" userId="4cc4c274-2099-4ec9-9ef7-59e8b8faf7f4" providerId="ADAL" clId="{16B19183-0D00-42BB-9D68-0C157ABE533B}" dt="2021-03-08T13:36:21.721" v="1010"/>
          <ac:spMkLst>
            <pc:docMk/>
            <pc:sldMk cId="1868022673" sldId="7334"/>
            <ac:spMk id="4" creationId="{559B14FA-2537-436F-8D6E-63EDF78336EF}"/>
          </ac:spMkLst>
        </pc:spChg>
        <pc:spChg chg="mod ord">
          <ac:chgData name="Adèle DUCURTIL" userId="4cc4c274-2099-4ec9-9ef7-59e8b8faf7f4" providerId="ADAL" clId="{16B19183-0D00-42BB-9D68-0C157ABE533B}" dt="2021-03-08T13:36:21.699" v="874"/>
          <ac:spMkLst>
            <pc:docMk/>
            <pc:sldMk cId="1868022673" sldId="7334"/>
            <ac:spMk id="8" creationId="{CFC02BAD-456B-4773-9A5D-8C6871E49FAB}"/>
          </ac:spMkLst>
        </pc:spChg>
        <pc:spChg chg="mod ord">
          <ac:chgData name="Adèle DUCURTIL" userId="4cc4c274-2099-4ec9-9ef7-59e8b8faf7f4" providerId="ADAL" clId="{16B19183-0D00-42BB-9D68-0C157ABE533B}" dt="2021-03-08T13:36:21.699" v="879"/>
          <ac:spMkLst>
            <pc:docMk/>
            <pc:sldMk cId="1868022673" sldId="7334"/>
            <ac:spMk id="10" creationId="{33FAE982-EF25-48C7-A786-AC0F0510B8D2}"/>
          </ac:spMkLst>
        </pc:spChg>
        <pc:spChg chg="mod ord">
          <ac:chgData name="Adèle DUCURTIL" userId="4cc4c274-2099-4ec9-9ef7-59e8b8faf7f4" providerId="ADAL" clId="{16B19183-0D00-42BB-9D68-0C157ABE533B}" dt="2021-03-08T13:36:21.699" v="881"/>
          <ac:spMkLst>
            <pc:docMk/>
            <pc:sldMk cId="1868022673" sldId="7334"/>
            <ac:spMk id="11" creationId="{87D2F3C3-FA5C-421B-87D7-38B6AB2BF45B}"/>
          </ac:spMkLst>
        </pc:spChg>
        <pc:spChg chg="mod ord">
          <ac:chgData name="Adèle DUCURTIL" userId="4cc4c274-2099-4ec9-9ef7-59e8b8faf7f4" providerId="ADAL" clId="{16B19183-0D00-42BB-9D68-0C157ABE533B}" dt="2021-03-08T13:36:21.699" v="883"/>
          <ac:spMkLst>
            <pc:docMk/>
            <pc:sldMk cId="1868022673" sldId="7334"/>
            <ac:spMk id="12" creationId="{1C3FF9CD-B1BC-4799-A632-81B0B66892EF}"/>
          </ac:spMkLst>
        </pc:spChg>
        <pc:spChg chg="mod ord">
          <ac:chgData name="Adèle DUCURTIL" userId="4cc4c274-2099-4ec9-9ef7-59e8b8faf7f4" providerId="ADAL" clId="{16B19183-0D00-42BB-9D68-0C157ABE533B}" dt="2021-03-08T13:36:21.699" v="885"/>
          <ac:spMkLst>
            <pc:docMk/>
            <pc:sldMk cId="1868022673" sldId="7334"/>
            <ac:spMk id="25" creationId="{62F441A8-CBFA-4807-AA42-A25161B73984}"/>
          </ac:spMkLst>
        </pc:spChg>
        <pc:spChg chg="mod ord">
          <ac:chgData name="Adèle DUCURTIL" userId="4cc4c274-2099-4ec9-9ef7-59e8b8faf7f4" providerId="ADAL" clId="{16B19183-0D00-42BB-9D68-0C157ABE533B}" dt="2021-03-08T13:36:21.699" v="887"/>
          <ac:spMkLst>
            <pc:docMk/>
            <pc:sldMk cId="1868022673" sldId="7334"/>
            <ac:spMk id="26" creationId="{9532E04E-BD40-4781-95C1-B1CB4629888D}"/>
          </ac:spMkLst>
        </pc:spChg>
        <pc:spChg chg="mod ord">
          <ac:chgData name="Adèle DUCURTIL" userId="4cc4c274-2099-4ec9-9ef7-59e8b8faf7f4" providerId="ADAL" clId="{16B19183-0D00-42BB-9D68-0C157ABE533B}" dt="2021-03-08T13:36:21.699" v="889"/>
          <ac:spMkLst>
            <pc:docMk/>
            <pc:sldMk cId="1868022673" sldId="7334"/>
            <ac:spMk id="27" creationId="{3D60F54E-E0B3-4D5A-9146-8B3E9297DA9A}"/>
          </ac:spMkLst>
        </pc:spChg>
        <pc:spChg chg="mod ord">
          <ac:chgData name="Adèle DUCURTIL" userId="4cc4c274-2099-4ec9-9ef7-59e8b8faf7f4" providerId="ADAL" clId="{16B19183-0D00-42BB-9D68-0C157ABE533B}" dt="2021-03-08T13:36:21.699" v="891"/>
          <ac:spMkLst>
            <pc:docMk/>
            <pc:sldMk cId="1868022673" sldId="7334"/>
            <ac:spMk id="28" creationId="{7DBC0A10-C77D-406E-9FE1-C469891D4A13}"/>
          </ac:spMkLst>
        </pc:spChg>
        <pc:spChg chg="mod">
          <ac:chgData name="Adèle DUCURTIL" userId="4cc4c274-2099-4ec9-9ef7-59e8b8faf7f4" providerId="ADAL" clId="{16B19183-0D00-42BB-9D68-0C157ABE533B}" dt="2021-03-08T13:36:21.699" v="912"/>
          <ac:spMkLst>
            <pc:docMk/>
            <pc:sldMk cId="1868022673" sldId="7334"/>
            <ac:spMk id="29" creationId="{2D50909B-D276-4130-8015-7E672A7A6AC8}"/>
          </ac:spMkLst>
        </pc:spChg>
        <pc:spChg chg="mod">
          <ac:chgData name="Adèle DUCURTIL" userId="4cc4c274-2099-4ec9-9ef7-59e8b8faf7f4" providerId="ADAL" clId="{16B19183-0D00-42BB-9D68-0C157ABE533B}" dt="2021-03-08T13:36:21.709" v="916"/>
          <ac:spMkLst>
            <pc:docMk/>
            <pc:sldMk cId="1868022673" sldId="7334"/>
            <ac:spMk id="32" creationId="{E983B6CB-FA16-4AA5-AF97-0806A4EBDEEC}"/>
          </ac:spMkLst>
        </pc:spChg>
        <pc:spChg chg="mod">
          <ac:chgData name="Adèle DUCURTIL" userId="4cc4c274-2099-4ec9-9ef7-59e8b8faf7f4" providerId="ADAL" clId="{16B19183-0D00-42BB-9D68-0C157ABE533B}" dt="2021-03-08T13:36:21.709" v="919"/>
          <ac:spMkLst>
            <pc:docMk/>
            <pc:sldMk cId="1868022673" sldId="7334"/>
            <ac:spMk id="33" creationId="{A4C42241-6C7E-4D8D-AE62-1CC497C7E1FC}"/>
          </ac:spMkLst>
        </pc:spChg>
        <pc:spChg chg="mod">
          <ac:chgData name="Adèle DUCURTIL" userId="4cc4c274-2099-4ec9-9ef7-59e8b8faf7f4" providerId="ADAL" clId="{16B19183-0D00-42BB-9D68-0C157ABE533B}" dt="2021-03-08T13:36:21.711" v="961"/>
          <ac:spMkLst>
            <pc:docMk/>
            <pc:sldMk cId="1868022673" sldId="7334"/>
            <ac:spMk id="39" creationId="{4F1A31C2-2D55-4DD2-A91C-354B6357F503}"/>
          </ac:spMkLst>
        </pc:spChg>
        <pc:spChg chg="mod">
          <ac:chgData name="Adèle DUCURTIL" userId="4cc4c274-2099-4ec9-9ef7-59e8b8faf7f4" providerId="ADAL" clId="{16B19183-0D00-42BB-9D68-0C157ABE533B}" dt="2021-03-08T13:36:21.711" v="962"/>
          <ac:spMkLst>
            <pc:docMk/>
            <pc:sldMk cId="1868022673" sldId="7334"/>
            <ac:spMk id="40" creationId="{F3329349-B322-4717-9977-C091552250CF}"/>
          </ac:spMkLst>
        </pc:spChg>
        <pc:spChg chg="mod">
          <ac:chgData name="Adèle DUCURTIL" userId="4cc4c274-2099-4ec9-9ef7-59e8b8faf7f4" providerId="ADAL" clId="{16B19183-0D00-42BB-9D68-0C157ABE533B}" dt="2021-03-08T13:36:21.711" v="931"/>
          <ac:spMkLst>
            <pc:docMk/>
            <pc:sldMk cId="1868022673" sldId="7334"/>
            <ac:spMk id="49" creationId="{6BB7916F-8D04-479D-BB06-36EA6577D464}"/>
          </ac:spMkLst>
        </pc:spChg>
        <pc:spChg chg="mod">
          <ac:chgData name="Adèle DUCURTIL" userId="4cc4c274-2099-4ec9-9ef7-59e8b8faf7f4" providerId="ADAL" clId="{16B19183-0D00-42BB-9D68-0C157ABE533B}" dt="2021-03-08T13:36:21.709" v="920"/>
          <ac:spMkLst>
            <pc:docMk/>
            <pc:sldMk cId="1868022673" sldId="7334"/>
            <ac:spMk id="60" creationId="{079A3004-8B10-4A8B-A55B-01C30D9ACF73}"/>
          </ac:spMkLst>
        </pc:spChg>
        <pc:spChg chg="mod">
          <ac:chgData name="Adèle DUCURTIL" userId="4cc4c274-2099-4ec9-9ef7-59e8b8faf7f4" providerId="ADAL" clId="{16B19183-0D00-42BB-9D68-0C157ABE533B}" dt="2021-03-08T13:36:21.709" v="922"/>
          <ac:spMkLst>
            <pc:docMk/>
            <pc:sldMk cId="1868022673" sldId="7334"/>
            <ac:spMk id="61" creationId="{6A5F3BD4-D574-47FE-9569-2BFBE78A5DE9}"/>
          </ac:spMkLst>
        </pc:spChg>
        <pc:spChg chg="mod">
          <ac:chgData name="Adèle DUCURTIL" userId="4cc4c274-2099-4ec9-9ef7-59e8b8faf7f4" providerId="ADAL" clId="{16B19183-0D00-42BB-9D68-0C157ABE533B}" dt="2021-03-08T13:36:21.699" v="902"/>
          <ac:spMkLst>
            <pc:docMk/>
            <pc:sldMk cId="1868022673" sldId="7334"/>
            <ac:spMk id="63" creationId="{68AC4ADD-C371-4A3B-999B-6DB64BDD71F7}"/>
          </ac:spMkLst>
        </pc:spChg>
        <pc:spChg chg="mod">
          <ac:chgData name="Adèle DUCURTIL" userId="4cc4c274-2099-4ec9-9ef7-59e8b8faf7f4" providerId="ADAL" clId="{16B19183-0D00-42BB-9D68-0C157ABE533B}" dt="2021-03-08T13:36:21.711" v="932"/>
          <ac:spMkLst>
            <pc:docMk/>
            <pc:sldMk cId="1868022673" sldId="7334"/>
            <ac:spMk id="123" creationId="{D740F71A-BD85-4962-8597-EA9A65141D18}"/>
          </ac:spMkLst>
        </pc:spChg>
        <pc:spChg chg="mod ord">
          <ac:chgData name="Adèle DUCURTIL" userId="4cc4c274-2099-4ec9-9ef7-59e8b8faf7f4" providerId="ADAL" clId="{16B19183-0D00-42BB-9D68-0C157ABE533B}" dt="2021-03-08T13:36:21.721" v="994"/>
          <ac:spMkLst>
            <pc:docMk/>
            <pc:sldMk cId="1868022673" sldId="7334"/>
            <ac:spMk id="153" creationId="{3AF71D78-174F-4F63-BDFC-9DD9655B1404}"/>
          </ac:spMkLst>
        </pc:spChg>
        <pc:spChg chg="mod ord">
          <ac:chgData name="Adèle DUCURTIL" userId="4cc4c274-2099-4ec9-9ef7-59e8b8faf7f4" providerId="ADAL" clId="{16B19183-0D00-42BB-9D68-0C157ABE533B}" dt="2021-03-08T13:36:21.721" v="996"/>
          <ac:spMkLst>
            <pc:docMk/>
            <pc:sldMk cId="1868022673" sldId="7334"/>
            <ac:spMk id="154" creationId="{5502A205-B594-4A8A-ACDD-D5E9FCC4CFC6}"/>
          </ac:spMkLst>
        </pc:spChg>
        <pc:spChg chg="mod ord">
          <ac:chgData name="Adèle DUCURTIL" userId="4cc4c274-2099-4ec9-9ef7-59e8b8faf7f4" providerId="ADAL" clId="{16B19183-0D00-42BB-9D68-0C157ABE533B}" dt="2021-03-08T13:36:21.721" v="998"/>
          <ac:spMkLst>
            <pc:docMk/>
            <pc:sldMk cId="1868022673" sldId="7334"/>
            <ac:spMk id="155" creationId="{8B116C82-AD89-434A-9F87-4F9690E46647}"/>
          </ac:spMkLst>
        </pc:spChg>
        <pc:spChg chg="mod ord">
          <ac:chgData name="Adèle DUCURTIL" userId="4cc4c274-2099-4ec9-9ef7-59e8b8faf7f4" providerId="ADAL" clId="{16B19183-0D00-42BB-9D68-0C157ABE533B}" dt="2021-03-08T13:36:21.721" v="1000"/>
          <ac:spMkLst>
            <pc:docMk/>
            <pc:sldMk cId="1868022673" sldId="7334"/>
            <ac:spMk id="156" creationId="{AE8CDD28-FF05-4B7D-ABD8-806EF60A8D8F}"/>
          </ac:spMkLst>
        </pc:spChg>
        <pc:spChg chg="mod ord">
          <ac:chgData name="Adèle DUCURTIL" userId="4cc4c274-2099-4ec9-9ef7-59e8b8faf7f4" providerId="ADAL" clId="{16B19183-0D00-42BB-9D68-0C157ABE533B}" dt="2021-03-08T13:36:21.721" v="1006"/>
          <ac:spMkLst>
            <pc:docMk/>
            <pc:sldMk cId="1868022673" sldId="7334"/>
            <ac:spMk id="165" creationId="{A4CB902B-5C13-4C41-960F-F5E51949D349}"/>
          </ac:spMkLst>
        </pc:spChg>
        <pc:spChg chg="mod ord">
          <ac:chgData name="Adèle DUCURTIL" userId="4cc4c274-2099-4ec9-9ef7-59e8b8faf7f4" providerId="ADAL" clId="{16B19183-0D00-42BB-9D68-0C157ABE533B}" dt="2021-03-08T13:36:21.699" v="911"/>
          <ac:spMkLst>
            <pc:docMk/>
            <pc:sldMk cId="1868022673" sldId="7334"/>
            <ac:spMk id="185" creationId="{F1C0A7B8-5031-4226-BE87-085790533176}"/>
          </ac:spMkLst>
        </pc:spChg>
        <pc:spChg chg="mod">
          <ac:chgData name="Adèle DUCURTIL" userId="4cc4c274-2099-4ec9-9ef7-59e8b8faf7f4" providerId="ADAL" clId="{16B19183-0D00-42BB-9D68-0C157ABE533B}" dt="2021-03-08T13:36:21.711" v="930"/>
          <ac:spMkLst>
            <pc:docMk/>
            <pc:sldMk cId="1868022673" sldId="7334"/>
            <ac:spMk id="193" creationId="{C258FE6B-4114-44CA-B4E6-9F9F1F7C90C4}"/>
          </ac:spMkLst>
        </pc:spChg>
        <pc:spChg chg="mod ord">
          <ac:chgData name="Adèle DUCURTIL" userId="4cc4c274-2099-4ec9-9ef7-59e8b8faf7f4" providerId="ADAL" clId="{16B19183-0D00-42BB-9D68-0C157ABE533B}" dt="2021-03-08T13:36:21.709" v="918"/>
          <ac:spMkLst>
            <pc:docMk/>
            <pc:sldMk cId="1868022673" sldId="7334"/>
            <ac:spMk id="195" creationId="{0C32A895-2176-4279-B713-89D8B539ADB8}"/>
          </ac:spMkLst>
        </pc:spChg>
        <pc:spChg chg="mod ord">
          <ac:chgData name="Adèle DUCURTIL" userId="4cc4c274-2099-4ec9-9ef7-59e8b8faf7f4" providerId="ADAL" clId="{16B19183-0D00-42BB-9D68-0C157ABE533B}" dt="2021-03-08T13:36:21.699" v="914"/>
          <ac:spMkLst>
            <pc:docMk/>
            <pc:sldMk cId="1868022673" sldId="7334"/>
            <ac:spMk id="198" creationId="{5BE5B79A-9592-4864-AF62-B966179B6696}"/>
          </ac:spMkLst>
        </pc:spChg>
        <pc:spChg chg="mod ord">
          <ac:chgData name="Adèle DUCURTIL" userId="4cc4c274-2099-4ec9-9ef7-59e8b8faf7f4" providerId="ADAL" clId="{16B19183-0D00-42BB-9D68-0C157ABE533B}" dt="2021-03-08T13:36:21.709" v="924"/>
          <ac:spMkLst>
            <pc:docMk/>
            <pc:sldMk cId="1868022673" sldId="7334"/>
            <ac:spMk id="200" creationId="{5D38DE1F-093D-4ECE-93E1-1D84D885DB0F}"/>
          </ac:spMkLst>
        </pc:spChg>
        <pc:spChg chg="mod ord">
          <ac:chgData name="Adèle DUCURTIL" userId="4cc4c274-2099-4ec9-9ef7-59e8b8faf7f4" providerId="ADAL" clId="{16B19183-0D00-42BB-9D68-0C157ABE533B}" dt="2021-03-08T13:36:21.711" v="926"/>
          <ac:spMkLst>
            <pc:docMk/>
            <pc:sldMk cId="1868022673" sldId="7334"/>
            <ac:spMk id="202" creationId="{8829B546-A902-406A-A0AD-A95D8FCEC3B2}"/>
          </ac:spMkLst>
        </pc:spChg>
        <pc:spChg chg="mod">
          <ac:chgData name="Adèle DUCURTIL" userId="4cc4c274-2099-4ec9-9ef7-59e8b8faf7f4" providerId="ADAL" clId="{16B19183-0D00-42BB-9D68-0C157ABE533B}" dt="2021-03-08T13:36:21.709" v="921"/>
          <ac:spMkLst>
            <pc:docMk/>
            <pc:sldMk cId="1868022673" sldId="7334"/>
            <ac:spMk id="204" creationId="{C0CFB379-309E-427D-8159-C9C65670CEB2}"/>
          </ac:spMkLst>
        </pc:spChg>
        <pc:spChg chg="mod ord">
          <ac:chgData name="Adèle DUCURTIL" userId="4cc4c274-2099-4ec9-9ef7-59e8b8faf7f4" providerId="ADAL" clId="{16B19183-0D00-42BB-9D68-0C157ABE533B}" dt="2021-03-08T13:36:21.711" v="929"/>
          <ac:spMkLst>
            <pc:docMk/>
            <pc:sldMk cId="1868022673" sldId="7334"/>
            <ac:spMk id="205" creationId="{691FEF0C-C85F-4A5C-A890-50298F69086D}"/>
          </ac:spMkLst>
        </pc:spChg>
        <pc:spChg chg="mod">
          <ac:chgData name="Adèle DUCURTIL" userId="4cc4c274-2099-4ec9-9ef7-59e8b8faf7f4" providerId="ADAL" clId="{16B19183-0D00-42BB-9D68-0C157ABE533B}" dt="2021-03-08T13:36:21.711" v="927"/>
          <ac:spMkLst>
            <pc:docMk/>
            <pc:sldMk cId="1868022673" sldId="7334"/>
            <ac:spMk id="206" creationId="{44054CAB-9823-4C5D-8375-633C8C483257}"/>
          </ac:spMkLst>
        </pc:spChg>
        <pc:spChg chg="mod">
          <ac:chgData name="Adèle DUCURTIL" userId="4cc4c274-2099-4ec9-9ef7-59e8b8faf7f4" providerId="ADAL" clId="{16B19183-0D00-42BB-9D68-0C157ABE533B}" dt="2021-03-08T13:36:21.721" v="984"/>
          <ac:spMkLst>
            <pc:docMk/>
            <pc:sldMk cId="1868022673" sldId="7334"/>
            <ac:spMk id="218" creationId="{99B0FB8F-3864-4E2E-8AF0-F0EC9E262FA8}"/>
          </ac:spMkLst>
        </pc:spChg>
        <pc:spChg chg="mod">
          <ac:chgData name="Adèle DUCURTIL" userId="4cc4c274-2099-4ec9-9ef7-59e8b8faf7f4" providerId="ADAL" clId="{16B19183-0D00-42BB-9D68-0C157ABE533B}" dt="2021-03-08T13:36:21.709" v="915"/>
          <ac:spMkLst>
            <pc:docMk/>
            <pc:sldMk cId="1868022673" sldId="7334"/>
            <ac:spMk id="219" creationId="{CA278E1B-2FC1-4324-9AE9-42BA72DACFC1}"/>
          </ac:spMkLst>
        </pc:spChg>
        <pc:spChg chg="mod ord">
          <ac:chgData name="Adèle DUCURTIL" userId="4cc4c274-2099-4ec9-9ef7-59e8b8faf7f4" providerId="ADAL" clId="{16B19183-0D00-42BB-9D68-0C157ABE533B}" dt="2021-03-08T13:36:21.699" v="909"/>
          <ac:spMkLst>
            <pc:docMk/>
            <pc:sldMk cId="1868022673" sldId="7334"/>
            <ac:spMk id="220" creationId="{D2D2AD5C-D7D9-423C-8411-EDE40062E9E7}"/>
          </ac:spMkLst>
        </pc:spChg>
        <pc:spChg chg="mod">
          <ac:chgData name="Adèle DUCURTIL" userId="4cc4c274-2099-4ec9-9ef7-59e8b8faf7f4" providerId="ADAL" clId="{16B19183-0D00-42BB-9D68-0C157ABE533B}" dt="2021-03-08T13:36:21.721" v="978"/>
          <ac:spMkLst>
            <pc:docMk/>
            <pc:sldMk cId="1868022673" sldId="7334"/>
            <ac:spMk id="221" creationId="{4F2BC0FE-EE5C-405C-AEC0-6588A694E67E}"/>
          </ac:spMkLst>
        </pc:spChg>
        <pc:spChg chg="mod">
          <ac:chgData name="Adèle DUCURTIL" userId="4cc4c274-2099-4ec9-9ef7-59e8b8faf7f4" providerId="ADAL" clId="{16B19183-0D00-42BB-9D68-0C157ABE533B}" dt="2021-03-08T13:36:21.699" v="905"/>
          <ac:spMkLst>
            <pc:docMk/>
            <pc:sldMk cId="1868022673" sldId="7334"/>
            <ac:spMk id="222" creationId="{1819E44A-4100-47F7-9CBC-80805882C80C}"/>
          </ac:spMkLst>
        </pc:spChg>
        <pc:spChg chg="mod ord">
          <ac:chgData name="Adèle DUCURTIL" userId="4cc4c274-2099-4ec9-9ef7-59e8b8faf7f4" providerId="ADAL" clId="{16B19183-0D00-42BB-9D68-0C157ABE533B}" dt="2021-03-08T13:36:21.699" v="907"/>
          <ac:spMkLst>
            <pc:docMk/>
            <pc:sldMk cId="1868022673" sldId="7334"/>
            <ac:spMk id="223" creationId="{3E2BACA9-BCE9-45C6-94CC-F7E252A1E93D}"/>
          </ac:spMkLst>
        </pc:spChg>
        <pc:spChg chg="mod ord">
          <ac:chgData name="Adèle DUCURTIL" userId="4cc4c274-2099-4ec9-9ef7-59e8b8faf7f4" providerId="ADAL" clId="{16B19183-0D00-42BB-9D68-0C157ABE533B}" dt="2021-03-08T13:36:21.721" v="977"/>
          <ac:spMkLst>
            <pc:docMk/>
            <pc:sldMk cId="1868022673" sldId="7334"/>
            <ac:spMk id="225" creationId="{6CB9E307-83C3-4287-B1A7-459A1E5DC11D}"/>
          </ac:spMkLst>
        </pc:spChg>
        <pc:spChg chg="mod">
          <ac:chgData name="Adèle DUCURTIL" userId="4cc4c274-2099-4ec9-9ef7-59e8b8faf7f4" providerId="ADAL" clId="{16B19183-0D00-42BB-9D68-0C157ABE533B}" dt="2021-03-08T13:36:21.721" v="979"/>
          <ac:spMkLst>
            <pc:docMk/>
            <pc:sldMk cId="1868022673" sldId="7334"/>
            <ac:spMk id="226" creationId="{D6823F04-8E61-488F-AFCD-36BDD4F27999}"/>
          </ac:spMkLst>
        </pc:spChg>
        <pc:spChg chg="mod">
          <ac:chgData name="Adèle DUCURTIL" userId="4cc4c274-2099-4ec9-9ef7-59e8b8faf7f4" providerId="ADAL" clId="{16B19183-0D00-42BB-9D68-0C157ABE533B}" dt="2021-03-08T13:36:21.721" v="980"/>
          <ac:spMkLst>
            <pc:docMk/>
            <pc:sldMk cId="1868022673" sldId="7334"/>
            <ac:spMk id="227" creationId="{6D9C64D9-4443-4412-8135-A58DBB11A17E}"/>
          </ac:spMkLst>
        </pc:spChg>
        <pc:spChg chg="mod ord">
          <ac:chgData name="Adèle DUCURTIL" userId="4cc4c274-2099-4ec9-9ef7-59e8b8faf7f4" providerId="ADAL" clId="{16B19183-0D00-42BB-9D68-0C157ABE533B}" dt="2021-03-08T13:36:21.721" v="974"/>
          <ac:spMkLst>
            <pc:docMk/>
            <pc:sldMk cId="1868022673" sldId="7334"/>
            <ac:spMk id="228" creationId="{57A7CEC4-7EC1-40B5-9109-0D993259533F}"/>
          </ac:spMkLst>
        </pc:spChg>
        <pc:spChg chg="mod">
          <ac:chgData name="Adèle DUCURTIL" userId="4cc4c274-2099-4ec9-9ef7-59e8b8faf7f4" providerId="ADAL" clId="{16B19183-0D00-42BB-9D68-0C157ABE533B}" dt="2021-03-08T13:36:21.721" v="992"/>
          <ac:spMkLst>
            <pc:docMk/>
            <pc:sldMk cId="1868022673" sldId="7334"/>
            <ac:spMk id="229" creationId="{17474289-60F2-4EFB-BE81-2E5226DAE21B}"/>
          </ac:spMkLst>
        </pc:spChg>
        <pc:spChg chg="mod">
          <ac:chgData name="Adèle DUCURTIL" userId="4cc4c274-2099-4ec9-9ef7-59e8b8faf7f4" providerId="ADAL" clId="{16B19183-0D00-42BB-9D68-0C157ABE533B}" dt="2021-03-08T13:36:21.721" v="981"/>
          <ac:spMkLst>
            <pc:docMk/>
            <pc:sldMk cId="1868022673" sldId="7334"/>
            <ac:spMk id="230" creationId="{22DBFF47-8D64-4256-A62F-D5BEC4232EE5}"/>
          </ac:spMkLst>
        </pc:spChg>
        <pc:spChg chg="mod">
          <ac:chgData name="Adèle DUCURTIL" userId="4cc4c274-2099-4ec9-9ef7-59e8b8faf7f4" providerId="ADAL" clId="{16B19183-0D00-42BB-9D68-0C157ABE533B}" dt="2021-03-08T13:36:21.721" v="985"/>
          <ac:spMkLst>
            <pc:docMk/>
            <pc:sldMk cId="1868022673" sldId="7334"/>
            <ac:spMk id="231" creationId="{AF590AAB-E9AB-4534-BF4F-4DDBD8893458}"/>
          </ac:spMkLst>
        </pc:spChg>
        <pc:spChg chg="mod">
          <ac:chgData name="Adèle DUCURTIL" userId="4cc4c274-2099-4ec9-9ef7-59e8b8faf7f4" providerId="ADAL" clId="{16B19183-0D00-42BB-9D68-0C157ABE533B}" dt="2021-03-08T13:36:21.721" v="988"/>
          <ac:spMkLst>
            <pc:docMk/>
            <pc:sldMk cId="1868022673" sldId="7334"/>
            <ac:spMk id="232" creationId="{36D5DAC6-3C0B-4767-8641-763347858B5B}"/>
          </ac:spMkLst>
        </pc:spChg>
        <pc:spChg chg="mod">
          <ac:chgData name="Adèle DUCURTIL" userId="4cc4c274-2099-4ec9-9ef7-59e8b8faf7f4" providerId="ADAL" clId="{16B19183-0D00-42BB-9D68-0C157ABE533B}" dt="2021-03-08T13:36:21.719" v="970"/>
          <ac:spMkLst>
            <pc:docMk/>
            <pc:sldMk cId="1868022673" sldId="7334"/>
            <ac:spMk id="233" creationId="{EBF51FFC-C880-4B81-BE21-5772A6EEC240}"/>
          </ac:spMkLst>
        </pc:spChg>
        <pc:spChg chg="mod ord">
          <ac:chgData name="Adèle DUCURTIL" userId="4cc4c274-2099-4ec9-9ef7-59e8b8faf7f4" providerId="ADAL" clId="{16B19183-0D00-42BB-9D68-0C157ABE533B}" dt="2021-03-08T13:36:21.719" v="967"/>
          <ac:spMkLst>
            <pc:docMk/>
            <pc:sldMk cId="1868022673" sldId="7334"/>
            <ac:spMk id="237" creationId="{AF67E44B-AB1A-46E1-9965-352B1F7AE28A}"/>
          </ac:spMkLst>
        </pc:spChg>
        <pc:spChg chg="mod">
          <ac:chgData name="Adèle DUCURTIL" userId="4cc4c274-2099-4ec9-9ef7-59e8b8faf7f4" providerId="ADAL" clId="{16B19183-0D00-42BB-9D68-0C157ABE533B}" dt="2021-03-08T13:36:21.721" v="991"/>
          <ac:spMkLst>
            <pc:docMk/>
            <pc:sldMk cId="1868022673" sldId="7334"/>
            <ac:spMk id="238" creationId="{9868E0E0-DA4A-4791-A0FF-3DFA2A34EB1B}"/>
          </ac:spMkLst>
        </pc:spChg>
        <pc:spChg chg="mod ord">
          <ac:chgData name="Adèle DUCURTIL" userId="4cc4c274-2099-4ec9-9ef7-59e8b8faf7f4" providerId="ADAL" clId="{16B19183-0D00-42BB-9D68-0C157ABE533B}" dt="2021-03-08T13:36:21.721" v="983"/>
          <ac:spMkLst>
            <pc:docMk/>
            <pc:sldMk cId="1868022673" sldId="7334"/>
            <ac:spMk id="239" creationId="{5A50C174-CC24-4ED1-8CC4-6268E0E9EFBA}"/>
          </ac:spMkLst>
        </pc:spChg>
        <pc:spChg chg="mod ord">
          <ac:chgData name="Adèle DUCURTIL" userId="4cc4c274-2099-4ec9-9ef7-59e8b8faf7f4" providerId="ADAL" clId="{16B19183-0D00-42BB-9D68-0C157ABE533B}" dt="2021-03-08T13:36:21.719" v="969"/>
          <ac:spMkLst>
            <pc:docMk/>
            <pc:sldMk cId="1868022673" sldId="7334"/>
            <ac:spMk id="240" creationId="{23C64EDA-26AF-447A-A69D-3E3B36FDDFDE}"/>
          </ac:spMkLst>
        </pc:spChg>
        <pc:spChg chg="mod ord">
          <ac:chgData name="Adèle DUCURTIL" userId="4cc4c274-2099-4ec9-9ef7-59e8b8faf7f4" providerId="ADAL" clId="{16B19183-0D00-42BB-9D68-0C157ABE533B}" dt="2021-03-08T13:36:21.721" v="987"/>
          <ac:spMkLst>
            <pc:docMk/>
            <pc:sldMk cId="1868022673" sldId="7334"/>
            <ac:spMk id="241" creationId="{0AFCE273-362E-4FFB-95E3-4A60CA51AA99}"/>
          </ac:spMkLst>
        </pc:spChg>
        <pc:spChg chg="mod ord">
          <ac:chgData name="Adèle DUCURTIL" userId="4cc4c274-2099-4ec9-9ef7-59e8b8faf7f4" providerId="ADAL" clId="{16B19183-0D00-42BB-9D68-0C157ABE533B}" dt="2021-03-08T13:36:21.719" v="972"/>
          <ac:spMkLst>
            <pc:docMk/>
            <pc:sldMk cId="1868022673" sldId="7334"/>
            <ac:spMk id="242" creationId="{F49738C4-2927-49F4-838F-0C335861A750}"/>
          </ac:spMkLst>
        </pc:spChg>
        <pc:spChg chg="mod">
          <ac:chgData name="Adèle DUCURTIL" userId="4cc4c274-2099-4ec9-9ef7-59e8b8faf7f4" providerId="ADAL" clId="{16B19183-0D00-42BB-9D68-0C157ABE533B}" dt="2021-03-08T13:36:21.711" v="965"/>
          <ac:spMkLst>
            <pc:docMk/>
            <pc:sldMk cId="1868022673" sldId="7334"/>
            <ac:spMk id="243" creationId="{F729DE11-8B71-4992-8CBE-76A0BC27E18D}"/>
          </ac:spMkLst>
        </pc:spChg>
        <pc:spChg chg="mod ord">
          <ac:chgData name="Adèle DUCURTIL" userId="4cc4c274-2099-4ec9-9ef7-59e8b8faf7f4" providerId="ADAL" clId="{16B19183-0D00-42BB-9D68-0C157ABE533B}" dt="2021-03-08T13:36:21.721" v="990"/>
          <ac:spMkLst>
            <pc:docMk/>
            <pc:sldMk cId="1868022673" sldId="7334"/>
            <ac:spMk id="244" creationId="{99526C58-5786-4E63-A52B-162856B951C5}"/>
          </ac:spMkLst>
        </pc:spChg>
        <pc:spChg chg="mod">
          <ac:chgData name="Adèle DUCURTIL" userId="4cc4c274-2099-4ec9-9ef7-59e8b8faf7f4" providerId="ADAL" clId="{16B19183-0D00-42BB-9D68-0C157ABE533B}" dt="2021-03-08T13:36:21.721" v="975"/>
          <ac:spMkLst>
            <pc:docMk/>
            <pc:sldMk cId="1868022673" sldId="7334"/>
            <ac:spMk id="245" creationId="{1B20CB59-13A1-4167-B8A8-AFAF039A8DA4}"/>
          </ac:spMkLst>
        </pc:spChg>
        <pc:spChg chg="mod ord">
          <ac:chgData name="Adèle DUCURTIL" userId="4cc4c274-2099-4ec9-9ef7-59e8b8faf7f4" providerId="ADAL" clId="{16B19183-0D00-42BB-9D68-0C157ABE533B}" dt="2021-03-08T13:36:21.711" v="934"/>
          <ac:spMkLst>
            <pc:docMk/>
            <pc:sldMk cId="1868022673" sldId="7334"/>
            <ac:spMk id="364" creationId="{8451D16B-D84D-482A-A648-2750F628332B}"/>
          </ac:spMkLst>
        </pc:spChg>
        <pc:spChg chg="mod ord">
          <ac:chgData name="Adèle DUCURTIL" userId="4cc4c274-2099-4ec9-9ef7-59e8b8faf7f4" providerId="ADAL" clId="{16B19183-0D00-42BB-9D68-0C157ABE533B}" dt="2021-03-08T13:36:21.711" v="936"/>
          <ac:spMkLst>
            <pc:docMk/>
            <pc:sldMk cId="1868022673" sldId="7334"/>
            <ac:spMk id="365" creationId="{7B9D39F4-D9E1-44B7-A08C-EF3E7594E2EB}"/>
          </ac:spMkLst>
        </pc:spChg>
        <pc:spChg chg="mod ord">
          <ac:chgData name="Adèle DUCURTIL" userId="4cc4c274-2099-4ec9-9ef7-59e8b8faf7f4" providerId="ADAL" clId="{16B19183-0D00-42BB-9D68-0C157ABE533B}" dt="2021-03-08T13:36:21.711" v="938"/>
          <ac:spMkLst>
            <pc:docMk/>
            <pc:sldMk cId="1868022673" sldId="7334"/>
            <ac:spMk id="366" creationId="{20775784-4961-4809-A261-CC17F3A47D0C}"/>
          </ac:spMkLst>
        </pc:spChg>
        <pc:spChg chg="mod ord">
          <ac:chgData name="Adèle DUCURTIL" userId="4cc4c274-2099-4ec9-9ef7-59e8b8faf7f4" providerId="ADAL" clId="{16B19183-0D00-42BB-9D68-0C157ABE533B}" dt="2021-03-08T13:36:21.711" v="940"/>
          <ac:spMkLst>
            <pc:docMk/>
            <pc:sldMk cId="1868022673" sldId="7334"/>
            <ac:spMk id="367" creationId="{39AFC2BA-3A2E-4D08-B9F4-61D23BD9FDA2}"/>
          </ac:spMkLst>
        </pc:spChg>
        <pc:spChg chg="mod ord">
          <ac:chgData name="Adèle DUCURTIL" userId="4cc4c274-2099-4ec9-9ef7-59e8b8faf7f4" providerId="ADAL" clId="{16B19183-0D00-42BB-9D68-0C157ABE533B}" dt="2021-03-08T13:36:21.711" v="948"/>
          <ac:spMkLst>
            <pc:docMk/>
            <pc:sldMk cId="1868022673" sldId="7334"/>
            <ac:spMk id="375" creationId="{75237AA5-C2C5-4937-A3E0-56A8D0BA8F46}"/>
          </ac:spMkLst>
        </pc:spChg>
        <pc:graphicFrameChg chg="mod ord">
          <ac:chgData name="Adèle DUCURTIL" userId="4cc4c274-2099-4ec9-9ef7-59e8b8faf7f4" providerId="ADAL" clId="{16B19183-0D00-42BB-9D68-0C157ABE533B}" dt="2021-03-08T13:36:21.731" v="1012"/>
          <ac:graphicFrameMkLst>
            <pc:docMk/>
            <pc:sldMk cId="1868022673" sldId="7334"/>
            <ac:graphicFrameMk id="9" creationId="{777857E2-6DF1-48EF-BB3F-BB1531140D04}"/>
          </ac:graphicFrameMkLst>
        </pc:graphicFrameChg>
        <pc:graphicFrameChg chg="add mod ord">
          <ac:chgData name="Adèle DUCURTIL" userId="4cc4c274-2099-4ec9-9ef7-59e8b8faf7f4" providerId="ADAL" clId="{16B19183-0D00-42BB-9D68-0C157ABE533B}" dt="2021-03-08T13:36:21.699" v="904"/>
          <ac:graphicFrameMkLst>
            <pc:docMk/>
            <pc:sldMk cId="1868022673" sldId="7334"/>
            <ac:graphicFrameMk id="86" creationId="{EA9D85F9-64BC-47D2-9D45-5EE98D73FB7F}"/>
          </ac:graphicFrameMkLst>
        </pc:graphicFrameChg>
        <pc:graphicFrameChg chg="add mod ord">
          <ac:chgData name="Adèle DUCURTIL" userId="4cc4c274-2099-4ec9-9ef7-59e8b8faf7f4" providerId="ADAL" clId="{16B19183-0D00-42BB-9D68-0C157ABE533B}" dt="2021-03-08T13:36:21.711" v="964"/>
          <ac:graphicFrameMkLst>
            <pc:docMk/>
            <pc:sldMk cId="1868022673" sldId="7334"/>
            <ac:graphicFrameMk id="87" creationId="{D0A7AC68-C582-4D26-A36A-4D12AF79C3CD}"/>
          </ac:graphicFrameMkLst>
        </pc:graphicFrameChg>
        <pc:graphicFrameChg chg="del">
          <ac:chgData name="Adèle DUCURTIL" userId="4cc4c274-2099-4ec9-9ef7-59e8b8faf7f4" providerId="ADAL" clId="{16B19183-0D00-42BB-9D68-0C157ABE533B}" dt="2021-03-08T13:36:21.680" v="863"/>
          <ac:graphicFrameMkLst>
            <pc:docMk/>
            <pc:sldMk cId="1868022673" sldId="7334"/>
            <ac:graphicFrameMk id="139" creationId="{8EA89F09-32AE-458C-B277-24D8B930F015}"/>
          </ac:graphicFrameMkLst>
        </pc:graphicFrameChg>
        <pc:graphicFrameChg chg="del">
          <ac:chgData name="Adèle DUCURTIL" userId="4cc4c274-2099-4ec9-9ef7-59e8b8faf7f4" providerId="ADAL" clId="{16B19183-0D00-42BB-9D68-0C157ABE533B}" dt="2021-03-08T13:36:21.539" v="726"/>
          <ac:graphicFrameMkLst>
            <pc:docMk/>
            <pc:sldMk cId="1868022673" sldId="7334"/>
            <ac:graphicFrameMk id="152" creationId="{99EAC21E-CAC6-4D87-ABF3-6A61DD021995}"/>
          </ac:graphicFrameMkLst>
        </pc:graphicFrameChg>
        <pc:picChg chg="mod ord">
          <ac:chgData name="Adèle DUCURTIL" userId="4cc4c274-2099-4ec9-9ef7-59e8b8faf7f4" providerId="ADAL" clId="{16B19183-0D00-42BB-9D68-0C157ABE533B}" dt="2021-03-08T13:36:21.711" v="950"/>
          <ac:picMkLst>
            <pc:docMk/>
            <pc:sldMk cId="1868022673" sldId="7334"/>
            <ac:picMk id="101" creationId="{C18B524C-6004-4F21-B925-0E73B682DC9F}"/>
          </ac:picMkLst>
        </pc:picChg>
        <pc:picChg chg="mod ord">
          <ac:chgData name="Adèle DUCURTIL" userId="4cc4c274-2099-4ec9-9ef7-59e8b8faf7f4" providerId="ADAL" clId="{16B19183-0D00-42BB-9D68-0C157ABE533B}" dt="2021-03-08T13:36:21.721" v="1008"/>
          <ac:picMkLst>
            <pc:docMk/>
            <pc:sldMk cId="1868022673" sldId="7334"/>
            <ac:picMk id="166" creationId="{4B44F360-C5B5-45A1-9361-FF6246E385FD}"/>
          </ac:picMkLst>
        </pc:picChg>
        <pc:picChg chg="mod ord">
          <ac:chgData name="Adèle DUCURTIL" userId="4cc4c274-2099-4ec9-9ef7-59e8b8faf7f4" providerId="ADAL" clId="{16B19183-0D00-42BB-9D68-0C157ABE533B}" dt="2021-03-08T13:36:21.711" v="942"/>
          <ac:picMkLst>
            <pc:docMk/>
            <pc:sldMk cId="1868022673" sldId="7334"/>
            <ac:picMk id="368" creationId="{268BD060-9FCB-4D62-ADC6-651D153060D3}"/>
          </ac:picMkLst>
        </pc:picChg>
        <pc:picChg chg="mod ord">
          <ac:chgData name="Adèle DUCURTIL" userId="4cc4c274-2099-4ec9-9ef7-59e8b8faf7f4" providerId="ADAL" clId="{16B19183-0D00-42BB-9D68-0C157ABE533B}" dt="2021-03-08T13:36:21.711" v="944"/>
          <ac:picMkLst>
            <pc:docMk/>
            <pc:sldMk cId="1868022673" sldId="7334"/>
            <ac:picMk id="369" creationId="{633B5CDB-D3DE-4162-B9EF-7BD317CCA802}"/>
          </ac:picMkLst>
        </pc:picChg>
        <pc:picChg chg="mod ord">
          <ac:chgData name="Adèle DUCURTIL" userId="4cc4c274-2099-4ec9-9ef7-59e8b8faf7f4" providerId="ADAL" clId="{16B19183-0D00-42BB-9D68-0C157ABE533B}" dt="2021-03-08T13:36:21.711" v="946"/>
          <ac:picMkLst>
            <pc:docMk/>
            <pc:sldMk cId="1868022673" sldId="7334"/>
            <ac:picMk id="370" creationId="{FFD71595-106D-48B7-B1D3-F72940A76F46}"/>
          </ac:picMkLst>
        </pc:picChg>
        <pc:cxnChg chg="mod ord">
          <ac:chgData name="Adèle DUCURTIL" userId="4cc4c274-2099-4ec9-9ef7-59e8b8faf7f4" providerId="ADAL" clId="{16B19183-0D00-42BB-9D68-0C157ABE533B}" dt="2021-03-08T13:36:21.699" v="895"/>
          <ac:cxnSpMkLst>
            <pc:docMk/>
            <pc:sldMk cId="1868022673" sldId="7334"/>
            <ac:cxnSpMk id="38" creationId="{264B243B-87CE-4BE8-B6D7-B638D8BE092B}"/>
          </ac:cxnSpMkLst>
        </pc:cxnChg>
        <pc:cxnChg chg="mod ord">
          <ac:chgData name="Adèle DUCURTIL" userId="4cc4c274-2099-4ec9-9ef7-59e8b8faf7f4" providerId="ADAL" clId="{16B19183-0D00-42BB-9D68-0C157ABE533B}" dt="2021-03-08T13:36:21.721" v="1002"/>
          <ac:cxnSpMkLst>
            <pc:docMk/>
            <pc:sldMk cId="1868022673" sldId="7334"/>
            <ac:cxnSpMk id="157" creationId="{62E7C639-A7EF-48FE-A1F8-620344B96524}"/>
          </ac:cxnSpMkLst>
        </pc:cxnChg>
        <pc:cxnChg chg="mod ord">
          <ac:chgData name="Adèle DUCURTIL" userId="4cc4c274-2099-4ec9-9ef7-59e8b8faf7f4" providerId="ADAL" clId="{16B19183-0D00-42BB-9D68-0C157ABE533B}" dt="2021-03-08T13:36:21.721" v="1004"/>
          <ac:cxnSpMkLst>
            <pc:docMk/>
            <pc:sldMk cId="1868022673" sldId="7334"/>
            <ac:cxnSpMk id="160" creationId="{2436D67F-FC2C-4FB0-8620-52C4BF6F94B7}"/>
          </ac:cxnSpMkLst>
        </pc:cxnChg>
        <pc:cxnChg chg="mod ord">
          <ac:chgData name="Adèle DUCURTIL" userId="4cc4c274-2099-4ec9-9ef7-59e8b8faf7f4" providerId="ADAL" clId="{16B19183-0D00-42BB-9D68-0C157ABE533B}" dt="2021-03-08T13:36:21.711" v="958"/>
          <ac:cxnSpMkLst>
            <pc:docMk/>
            <pc:sldMk cId="1868022673" sldId="7334"/>
            <ac:cxnSpMk id="211" creationId="{2143D20F-067E-40D9-A79B-80C1F2BCA7B9}"/>
          </ac:cxnSpMkLst>
        </pc:cxnChg>
        <pc:cxnChg chg="mod ord">
          <ac:chgData name="Adèle DUCURTIL" userId="4cc4c274-2099-4ec9-9ef7-59e8b8faf7f4" providerId="ADAL" clId="{16B19183-0D00-42BB-9D68-0C157ABE533B}" dt="2021-03-08T13:36:21.711" v="954"/>
          <ac:cxnSpMkLst>
            <pc:docMk/>
            <pc:sldMk cId="1868022673" sldId="7334"/>
            <ac:cxnSpMk id="212" creationId="{376F706B-03FC-4C35-8D14-C9A81D605BB1}"/>
          </ac:cxnSpMkLst>
        </pc:cxnChg>
        <pc:cxnChg chg="mod ord">
          <ac:chgData name="Adèle DUCURTIL" userId="4cc4c274-2099-4ec9-9ef7-59e8b8faf7f4" providerId="ADAL" clId="{16B19183-0D00-42BB-9D68-0C157ABE533B}" dt="2021-03-08T13:36:21.711" v="956"/>
          <ac:cxnSpMkLst>
            <pc:docMk/>
            <pc:sldMk cId="1868022673" sldId="7334"/>
            <ac:cxnSpMk id="213" creationId="{FD896AA6-4881-4426-9CBB-E4DCD5069AAF}"/>
          </ac:cxnSpMkLst>
        </pc:cxnChg>
        <pc:cxnChg chg="mod ord">
          <ac:chgData name="Adèle DUCURTIL" userId="4cc4c274-2099-4ec9-9ef7-59e8b8faf7f4" providerId="ADAL" clId="{16B19183-0D00-42BB-9D68-0C157ABE533B}" dt="2021-03-08T13:36:21.711" v="960"/>
          <ac:cxnSpMkLst>
            <pc:docMk/>
            <pc:sldMk cId="1868022673" sldId="7334"/>
            <ac:cxnSpMk id="214" creationId="{85ABBFCF-F0F9-4646-BFB7-0CC627430CBC}"/>
          </ac:cxnSpMkLst>
        </pc:cxnChg>
        <pc:cxnChg chg="mod ord">
          <ac:chgData name="Adèle DUCURTIL" userId="4cc4c274-2099-4ec9-9ef7-59e8b8faf7f4" providerId="ADAL" clId="{16B19183-0D00-42BB-9D68-0C157ABE533B}" dt="2021-03-08T13:36:21.711" v="952"/>
          <ac:cxnSpMkLst>
            <pc:docMk/>
            <pc:sldMk cId="1868022673" sldId="7334"/>
            <ac:cxnSpMk id="215" creationId="{7B5AD3C6-74EF-4226-B594-AFD4038E5C34}"/>
          </ac:cxnSpMkLst>
        </pc:cxnChg>
        <pc:cxnChg chg="mod ord">
          <ac:chgData name="Adèle DUCURTIL" userId="4cc4c274-2099-4ec9-9ef7-59e8b8faf7f4" providerId="ADAL" clId="{16B19183-0D00-42BB-9D68-0C157ABE533B}" dt="2021-03-08T13:36:21.699" v="897"/>
          <ac:cxnSpMkLst>
            <pc:docMk/>
            <pc:sldMk cId="1868022673" sldId="7334"/>
            <ac:cxnSpMk id="234" creationId="{119CBB82-A684-4CF6-983F-C33A85DC8643}"/>
          </ac:cxnSpMkLst>
        </pc:cxnChg>
        <pc:cxnChg chg="mod ord">
          <ac:chgData name="Adèle DUCURTIL" userId="4cc4c274-2099-4ec9-9ef7-59e8b8faf7f4" providerId="ADAL" clId="{16B19183-0D00-42BB-9D68-0C157ABE533B}" dt="2021-03-08T13:36:21.699" v="899"/>
          <ac:cxnSpMkLst>
            <pc:docMk/>
            <pc:sldMk cId="1868022673" sldId="7334"/>
            <ac:cxnSpMk id="235" creationId="{260972ED-B485-45C8-8D3F-73EFA46817A5}"/>
          </ac:cxnSpMkLst>
        </pc:cxnChg>
        <pc:cxnChg chg="mod ord">
          <ac:chgData name="Adèle DUCURTIL" userId="4cc4c274-2099-4ec9-9ef7-59e8b8faf7f4" providerId="ADAL" clId="{16B19183-0D00-42BB-9D68-0C157ABE533B}" dt="2021-03-08T13:36:21.699" v="901"/>
          <ac:cxnSpMkLst>
            <pc:docMk/>
            <pc:sldMk cId="1868022673" sldId="7334"/>
            <ac:cxnSpMk id="236" creationId="{159E5405-BAB9-4BD4-8DC1-607436A64CD9}"/>
          </ac:cxnSpMkLst>
        </pc:cxnChg>
        <pc:cxnChg chg="mod ord">
          <ac:chgData name="Adèle DUCURTIL" userId="4cc4c274-2099-4ec9-9ef7-59e8b8faf7f4" providerId="ADAL" clId="{16B19183-0D00-42BB-9D68-0C157ABE533B}" dt="2021-03-08T13:36:21.699" v="893"/>
          <ac:cxnSpMkLst>
            <pc:docMk/>
            <pc:sldMk cId="1868022673" sldId="7334"/>
            <ac:cxnSpMk id="286" creationId="{02796175-775A-4783-975E-F1573F145E89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CA1_9E1EBDAA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CA1_9E1EBDAA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CA6_6F57C39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CA6_6F57C391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CA4_A1044968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CA4_A10449685.xlsb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_1CA5_741346CF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Microsoft_Excel_Worksheet_1CA5_741346CF2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Microsoft_Excel_Worksheet_1CA3_BBC89872.xlsx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_1CA3_BBC89872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303562340240732E-2"/>
          <c:y val="4.3151205592791619E-2"/>
          <c:w val="0.88847221865484005"/>
          <c:h val="0.866574124782660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F2F2F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259427.5</c:v>
                </c:pt>
                <c:pt idx="1">
                  <c:v>244401.19999999995</c:v>
                </c:pt>
                <c:pt idx="2">
                  <c:v>244401.1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61-4EAF-A41F-C45E7227087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DM</c:v>
                </c:pt>
              </c:strCache>
            </c:strRef>
          </c:tx>
          <c:spPr>
            <a:solidFill>
              <a:srgbClr val="6C6C6C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1518507.1537539978</c:v>
                </c:pt>
                <c:pt idx="1">
                  <c:v>2084960.7622496153</c:v>
                </c:pt>
                <c:pt idx="2">
                  <c:v>2084960.7622496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61-4EAF-A41F-C45E7227087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untry Risk</c:v>
                </c:pt>
              </c:strCache>
            </c:strRef>
          </c:tx>
          <c:spPr>
            <a:solidFill>
              <a:srgbClr val="00527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D$2:$D$4</c:f>
              <c:numCache>
                <c:formatCode>#,##0</c:formatCode>
                <c:ptCount val="3"/>
                <c:pt idx="0">
                  <c:v>5260</c:v>
                </c:pt>
                <c:pt idx="1">
                  <c:v>2601</c:v>
                </c:pt>
                <c:pt idx="2">
                  <c:v>2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61-4EAF-A41F-C45E72270873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Global Financials</c:v>
                </c:pt>
              </c:strCache>
            </c:strRef>
          </c:tx>
          <c:spPr>
            <a:solidFill>
              <a:srgbClr val="E9F5EC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F$2:$F$4</c:f>
              <c:numCache>
                <c:formatCode>#,##0</c:formatCode>
                <c:ptCount val="3"/>
                <c:pt idx="0">
                  <c:v>0</c:v>
                </c:pt>
                <c:pt idx="1">
                  <c:v>152150</c:v>
                </c:pt>
                <c:pt idx="2">
                  <c:v>152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961-4EAF-A41F-C45E72270873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D&amp;B Credit</c:v>
                </c:pt>
              </c:strCache>
            </c:strRef>
          </c:tx>
          <c:spPr>
            <a:solidFill>
              <a:srgbClr val="8FCD9F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G$2:$G$4</c:f>
              <c:numCache>
                <c:formatCode>#,##0</c:formatCode>
                <c:ptCount val="3"/>
                <c:pt idx="0">
                  <c:v>13006740.570000002</c:v>
                </c:pt>
                <c:pt idx="1">
                  <c:v>14208867.820000006</c:v>
                </c:pt>
                <c:pt idx="2">
                  <c:v>12876841.15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961-4EAF-A41F-C45E72270873}"/>
            </c:ext>
          </c:extLst>
        </c:ser>
        <c:ser>
          <c:idx val="6"/>
          <c:order val="5"/>
          <c:tx>
            <c:strRef>
              <c:f>Sheet1!$H$1</c:f>
              <c:strCache>
                <c:ptCount val="1"/>
                <c:pt idx="0">
                  <c:v>DNBi</c:v>
                </c:pt>
              </c:strCache>
            </c:strRef>
          </c:tx>
          <c:spPr>
            <a:solidFill>
              <a:srgbClr val="289B38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BE9-474A-809B-4CF2CA9D17E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01B-40E4-83B5-96B6B40D45A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H$2:$H$4</c:f>
              <c:numCache>
                <c:formatCode>#,##0</c:formatCode>
                <c:ptCount val="3"/>
                <c:pt idx="0">
                  <c:v>3609815.87</c:v>
                </c:pt>
                <c:pt idx="1">
                  <c:v>9094.7000000000116</c:v>
                </c:pt>
                <c:pt idx="2">
                  <c:v>2489439.6783959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961-4EAF-A41F-C45E72270873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GDM &amp; Toolkit</c:v>
                </c:pt>
              </c:strCache>
            </c:strRef>
          </c:tx>
          <c:spPr>
            <a:solidFill>
              <a:srgbClr val="367847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I$2:$I$4</c:f>
              <c:numCache>
                <c:formatCode>#,##0</c:formatCode>
                <c:ptCount val="3"/>
                <c:pt idx="0">
                  <c:v>444751.14</c:v>
                </c:pt>
                <c:pt idx="1">
                  <c:v>5217691.4700000035</c:v>
                </c:pt>
                <c:pt idx="2">
                  <c:v>5217691.4700000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961-4EAF-A41F-C45E72270873}"/>
            </c:ext>
          </c:extLst>
        </c:ser>
        <c:ser>
          <c:idx val="9"/>
          <c:order val="7"/>
          <c:tx>
            <c:strRef>
              <c:f>Sheet1!$J$1</c:f>
              <c:strCache>
                <c:ptCount val="1"/>
                <c:pt idx="0">
                  <c:v>DBAI (incl Toolkit Usage)</c:v>
                </c:pt>
              </c:strCache>
            </c:strRef>
          </c:tx>
          <c:spPr>
            <a:pattFill prst="ltHorz">
              <a:fgClr>
                <a:schemeClr val="bg1"/>
              </a:fgClr>
              <a:bgClr>
                <a:srgbClr val="367847"/>
              </a:bgClr>
            </a:pattFill>
            <a:ln w="25400"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844-495D-B83D-4C8F73626481}"/>
                </c:ext>
              </c:extLst>
            </c:dLbl>
            <c:numFmt formatCode="#,##0.0" sourceLinked="0"/>
            <c:spPr>
              <a:solidFill>
                <a:srgbClr val="367847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J$2:$J$4</c:f>
              <c:numCache>
                <c:formatCode>#,##0</c:formatCode>
                <c:ptCount val="3"/>
                <c:pt idx="0">
                  <c:v>7931581.4999999916</c:v>
                </c:pt>
                <c:pt idx="1">
                  <c:v>367913.86999999994</c:v>
                </c:pt>
                <c:pt idx="2">
                  <c:v>5961662.92609157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44-495D-B83D-4C8F73626481}"/>
            </c:ext>
          </c:extLst>
        </c:ser>
        <c:ser>
          <c:idx val="8"/>
          <c:order val="8"/>
          <c:tx>
            <c:strRef>
              <c:f>Sheet1!$K$1</c:f>
              <c:strCache>
                <c:ptCount val="1"/>
                <c:pt idx="0">
                  <c:v>Shared Bucket</c:v>
                </c:pt>
              </c:strCache>
            </c:strRef>
          </c:tx>
          <c:spPr>
            <a:pattFill prst="ltDnDiag">
              <a:fgClr>
                <a:schemeClr val="bg1"/>
              </a:fgClr>
              <a:bgClr>
                <a:srgbClr val="367847"/>
              </a:bgClr>
            </a:patt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E6F-4E0A-8F8C-1BEB5C3B805F}"/>
                </c:ext>
              </c:extLst>
            </c:dLbl>
            <c:numFmt formatCode="#,##0.0" sourceLinked="0"/>
            <c:spPr>
              <a:solidFill>
                <a:srgbClr val="367847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K$2:$K$4</c:f>
              <c:numCache>
                <c:formatCode>#,##0</c:formatCode>
                <c:ptCount val="3"/>
                <c:pt idx="0">
                  <c:v>0</c:v>
                </c:pt>
                <c:pt idx="1">
                  <c:v>3480661.5</c:v>
                </c:pt>
                <c:pt idx="2">
                  <c:v>1156892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961-4EAF-A41F-C45E72270873}"/>
            </c:ext>
          </c:extLst>
        </c:ser>
        <c:ser>
          <c:idx val="3"/>
          <c:order val="9"/>
          <c:tx>
            <c:strRef>
              <c:f>Sheet1!$E$1</c:f>
              <c:strCache>
                <c:ptCount val="1"/>
                <c:pt idx="0">
                  <c:v>Portfolio Manager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1.5691347488287859E-2"/>
                </c:manualLayout>
              </c:layout>
              <c:numFmt formatCode="#,##0.0" sourceLinked="0"/>
              <c:spPr>
                <a:solidFill>
                  <a:srgbClr val="144E1C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E6F-4E0A-8F8C-1BEB5C3B805F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E$2:$E$4</c:f>
              <c:numCache>
                <c:formatCode>#,##0</c:formatCode>
                <c:ptCount val="3"/>
                <c:pt idx="0">
                  <c:v>1205748.53</c:v>
                </c:pt>
                <c:pt idx="1">
                  <c:v>968900.44999999984</c:v>
                </c:pt>
                <c:pt idx="2">
                  <c:v>968900.44999999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961-4EAF-A41F-C45E722708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68785408"/>
        <c:axId val="1211666208"/>
      </c:barChart>
      <c:lineChart>
        <c:grouping val="stacke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Tota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10462471416931E-2"/>
                  <c:y val="-3.84632610882690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E6F-4E0A-8F8C-1BEB5C3B805F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L$2:$L$4</c:f>
              <c:numCache>
                <c:formatCode>#,##0.00</c:formatCode>
                <c:ptCount val="3"/>
                <c:pt idx="0">
                  <c:v>27981832.263753995</c:v>
                </c:pt>
                <c:pt idx="1">
                  <c:v>26737242.772249624</c:v>
                </c:pt>
                <c:pt idx="2">
                  <c:v>31155540.656737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6F-4E0A-8F8C-1BEB5C3B80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68785408"/>
        <c:axId val="1211666208"/>
      </c:lineChart>
      <c:catAx>
        <c:axId val="1468785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1666208"/>
        <c:crosses val="autoZero"/>
        <c:auto val="1"/>
        <c:lblAlgn val="ctr"/>
        <c:lblOffset val="100"/>
        <c:noMultiLvlLbl val="0"/>
      </c:catAx>
      <c:valAx>
        <c:axId val="1211666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8785408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12660068956261181"/>
          <c:y val="1.1768510616215895E-2"/>
          <c:w val="0.3594947061316181"/>
          <c:h val="0.13295389925351811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DM</c:v>
                </c:pt>
              </c:strCache>
            </c:strRef>
          </c:tx>
          <c:spPr>
            <a:solidFill>
              <a:srgbClr val="6C6C6C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B$2:$B$4</c:f>
              <c:numCache>
                <c:formatCode>#,##0.00</c:formatCode>
                <c:ptCount val="3"/>
                <c:pt idx="0">
                  <c:v>9598408.0199999996</c:v>
                </c:pt>
                <c:pt idx="1">
                  <c:v>9709228.6699999999</c:v>
                </c:pt>
                <c:pt idx="2">
                  <c:v>9709228.66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A3-410B-9A36-8D2E5C8BB133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Risk manageo</c:v>
                </c:pt>
              </c:strCache>
            </c:strRef>
          </c:tx>
          <c:spPr>
            <a:solidFill>
              <a:srgbClr val="A7A7A7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DA3-410B-9A36-8D2E5C8BB13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D$2:$D$4</c:f>
              <c:numCache>
                <c:formatCode>#,##0</c:formatCode>
                <c:ptCount val="3"/>
                <c:pt idx="0">
                  <c:v>649779</c:v>
                </c:pt>
                <c:pt idx="1">
                  <c:v>519743</c:v>
                </c:pt>
                <c:pt idx="2">
                  <c:v>519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A3-410B-9A36-8D2E5C8BB133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Inforisk</c:v>
                </c:pt>
              </c:strCache>
            </c:strRef>
          </c:tx>
          <c:spPr>
            <a:solidFill>
              <a:srgbClr val="D9D9D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C$2:$C$4</c:f>
              <c:numCache>
                <c:formatCode>#,##0.00</c:formatCode>
                <c:ptCount val="3"/>
                <c:pt idx="0">
                  <c:v>169121.8</c:v>
                </c:pt>
                <c:pt idx="1">
                  <c:v>119086.5</c:v>
                </c:pt>
                <c:pt idx="2">
                  <c:v>11908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A3-410B-9A36-8D2E5C8BB133}"/>
            </c:ext>
          </c:extLst>
        </c:ser>
        <c:ser>
          <c:idx val="6"/>
          <c:order val="3"/>
          <c:tx>
            <c:strRef>
              <c:f>Sheet1!$H$1</c:f>
              <c:strCache>
                <c:ptCount val="1"/>
                <c:pt idx="0">
                  <c:v>Global Financials</c:v>
                </c:pt>
              </c:strCache>
            </c:strRef>
          </c:tx>
          <c:spPr>
            <a:solidFill>
              <a:srgbClr val="E9F5E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H$2:$H$4</c:f>
              <c:numCache>
                <c:formatCode>General</c:formatCode>
                <c:ptCount val="3"/>
                <c:pt idx="0" formatCode="#,##0.00">
                  <c:v>163550</c:v>
                </c:pt>
                <c:pt idx="1">
                  <c:v>67300</c:v>
                </c:pt>
                <c:pt idx="2">
                  <c:v>6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A3-410B-9A36-8D2E5C8BB133}"/>
            </c:ext>
          </c:extLst>
        </c:ser>
        <c:ser>
          <c:idx val="3"/>
          <c:order val="4"/>
          <c:tx>
            <c:strRef>
              <c:f>Sheet1!$E$1</c:f>
              <c:strCache>
                <c:ptCount val="1"/>
                <c:pt idx="0">
                  <c:v>Wynbe</c:v>
                </c:pt>
              </c:strCache>
            </c:strRef>
          </c:tx>
          <c:spPr>
            <a:solidFill>
              <a:srgbClr val="0575D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896301.32</c:v>
                </c:pt>
                <c:pt idx="1">
                  <c:v>815215.58</c:v>
                </c:pt>
                <c:pt idx="2">
                  <c:v>815215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DA3-410B-9A36-8D2E5C8BB133}"/>
            </c:ext>
          </c:extLst>
        </c:ser>
        <c:ser>
          <c:idx val="4"/>
          <c:order val="5"/>
          <c:tx>
            <c:strRef>
              <c:f>Sheet1!$F$1</c:f>
              <c:strCache>
                <c:ptCount val="1"/>
                <c:pt idx="0">
                  <c:v>Intuiz</c:v>
                </c:pt>
              </c:strCache>
            </c:strRef>
          </c:tx>
          <c:spPr>
            <a:solidFill>
              <a:srgbClr val="00A3E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F$2:$F$4</c:f>
              <c:numCache>
                <c:formatCode>#,##0.00</c:formatCode>
                <c:ptCount val="3"/>
                <c:pt idx="0">
                  <c:v>12778982.130000001</c:v>
                </c:pt>
                <c:pt idx="1">
                  <c:v>12329227.689999999</c:v>
                </c:pt>
                <c:pt idx="2">
                  <c:v>12329227.68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DA3-410B-9A36-8D2E5C8BB133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DB Credit</c:v>
                </c:pt>
              </c:strCache>
            </c:strRef>
          </c:tx>
          <c:spPr>
            <a:solidFill>
              <a:srgbClr val="8FCD9F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I$2:$I$4</c:f>
              <c:numCache>
                <c:formatCode>#,##0.00</c:formatCode>
                <c:ptCount val="3"/>
                <c:pt idx="0">
                  <c:v>5772610.0700000003</c:v>
                </c:pt>
                <c:pt idx="1">
                  <c:v>6037579.8700000001</c:v>
                </c:pt>
                <c:pt idx="2">
                  <c:v>5715390.8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A3-410B-9A36-8D2E5C8BB133}"/>
            </c:ext>
          </c:extLst>
        </c:ser>
        <c:ser>
          <c:idx val="8"/>
          <c:order val="7"/>
          <c:tx>
            <c:strRef>
              <c:f>Sheet1!$J$1</c:f>
              <c:strCache>
                <c:ptCount val="1"/>
                <c:pt idx="0">
                  <c:v>DBAI/Toolkit/GDM</c:v>
                </c:pt>
              </c:strCache>
            </c:strRef>
          </c:tx>
          <c:spPr>
            <a:solidFill>
              <a:srgbClr val="367847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J$2:$J$4</c:f>
              <c:numCache>
                <c:formatCode>#,##0.00</c:formatCode>
                <c:ptCount val="3"/>
                <c:pt idx="0">
                  <c:v>3474212.7</c:v>
                </c:pt>
                <c:pt idx="1">
                  <c:v>1905880.74</c:v>
                </c:pt>
                <c:pt idx="2">
                  <c:v>2934338.9752706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DA3-410B-9A36-8D2E5C8BB133}"/>
            </c:ext>
          </c:extLst>
        </c:ser>
        <c:ser>
          <c:idx val="5"/>
          <c:order val="8"/>
          <c:tx>
            <c:strRef>
              <c:f>Sheet1!$G$1</c:f>
              <c:strCache>
                <c:ptCount val="1"/>
                <c:pt idx="0">
                  <c:v>Portfolio Manager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solidFill>
                <a:srgbClr val="144E1C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G$2:$G$4</c:f>
              <c:numCache>
                <c:formatCode>#,##0.00</c:formatCode>
                <c:ptCount val="3"/>
                <c:pt idx="0">
                  <c:v>466662.03</c:v>
                </c:pt>
                <c:pt idx="1">
                  <c:v>284465.38</c:v>
                </c:pt>
                <c:pt idx="2">
                  <c:v>284465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A3-410B-9A36-8D2E5C8BB13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4"/>
        <c:overlap val="100"/>
        <c:axId val="1256318943"/>
        <c:axId val="1256314783"/>
      </c:barChart>
      <c:lineChart>
        <c:grouping val="standard"/>
        <c:varyColors val="0"/>
        <c:ser>
          <c:idx val="9"/>
          <c:order val="9"/>
          <c:tx>
            <c:strRef>
              <c:f>Sheet1!$K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 (A)</c:v>
                </c:pt>
                <c:pt idx="1">
                  <c:v>2020 (A)</c:v>
                </c:pt>
                <c:pt idx="2">
                  <c:v>2020 without migration</c:v>
                </c:pt>
              </c:strCache>
            </c:strRef>
          </c:cat>
          <c:val>
            <c:numRef>
              <c:f>Sheet1!$K$2:$K$4</c:f>
              <c:numCache>
                <c:formatCode>#,##0.00</c:formatCode>
                <c:ptCount val="3"/>
                <c:pt idx="0">
                  <c:v>33969627.070000008</c:v>
                </c:pt>
                <c:pt idx="1">
                  <c:v>31787727.429999996</c:v>
                </c:pt>
                <c:pt idx="2">
                  <c:v>32493996.67527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EDA3-410B-9A36-8D2E5C8BB13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56318943"/>
        <c:axId val="1256314783"/>
      </c:lineChart>
      <c:catAx>
        <c:axId val="1256318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6314783"/>
        <c:crosses val="autoZero"/>
        <c:auto val="1"/>
        <c:lblAlgn val="ctr"/>
        <c:lblOffset val="100"/>
        <c:noMultiLvlLbl val="0"/>
      </c:catAx>
      <c:valAx>
        <c:axId val="1256314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6318943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825847386875939E-3"/>
          <c:y val="5.4621848739495799E-2"/>
          <c:w val="0.98263483052262479"/>
          <c:h val="0.890756302521008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409-4F06-A545-AAFFC191AB30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409-4F06-A545-AAFFC191AB30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24722804</c:v>
                </c:pt>
                <c:pt idx="1">
                  <c:v>32711894</c:v>
                </c:pt>
                <c:pt idx="2">
                  <c:v>32711894</c:v>
                </c:pt>
                <c:pt idx="3">
                  <c:v>32666265</c:v>
                </c:pt>
                <c:pt idx="4">
                  <c:v>31787728</c:v>
                </c:pt>
                <c:pt idx="5">
                  <c:v>23844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09-4F06-A545-AAFFC191AB30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409-4F06-A545-AAFFC191AB3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409-4F06-A545-AAFFC191AB30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409-4F06-A545-AAFFC191AB30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1492745</c:v>
                </c:pt>
                <c:pt idx="1">
                  <c:v>1257733</c:v>
                </c:pt>
                <c:pt idx="2">
                  <c:v>264970</c:v>
                </c:pt>
                <c:pt idx="3">
                  <c:v>310599</c:v>
                </c:pt>
                <c:pt idx="4">
                  <c:v>878537</c:v>
                </c:pt>
                <c:pt idx="5">
                  <c:v>1182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09-4F06-A545-AAFFC191AB30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5772610</c:v>
                </c:pt>
                <c:pt idx="5">
                  <c:v>60375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409-4F06-A545-AAFFC191AB30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981468</c:v>
                </c:pt>
                <c:pt idx="5">
                  <c:v>723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409-4F06-A545-AAFFC191AB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7918960"/>
        <c:axId val="1"/>
      </c:barChart>
      <c:catAx>
        <c:axId val="487918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9696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87918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825847386875939E-3"/>
          <c:y val="5.4621848739495799E-2"/>
          <c:w val="0.98263483052262479"/>
          <c:h val="0.890756302521008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3BA-4FF9-BA62-8BE181B168A9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BA-4FF9-BA62-8BE181B168A9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24722804</c:v>
                </c:pt>
                <c:pt idx="1">
                  <c:v>33740353</c:v>
                </c:pt>
                <c:pt idx="2">
                  <c:v>33683134</c:v>
                </c:pt>
                <c:pt idx="3">
                  <c:v>33372535</c:v>
                </c:pt>
                <c:pt idx="4">
                  <c:v>32493998</c:v>
                </c:pt>
                <c:pt idx="5">
                  <c:v>23844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BA-4FF9-BA62-8BE181B168A9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3BA-4FF9-BA62-8BE181B168A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3BA-4FF9-BA62-8BE181B168A9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3BA-4FF9-BA62-8BE181B168A9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1492745</c:v>
                </c:pt>
                <c:pt idx="1">
                  <c:v>229274</c:v>
                </c:pt>
                <c:pt idx="2">
                  <c:v>57219</c:v>
                </c:pt>
                <c:pt idx="3">
                  <c:v>310599</c:v>
                </c:pt>
                <c:pt idx="4">
                  <c:v>878537</c:v>
                </c:pt>
                <c:pt idx="5">
                  <c:v>1182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BA-4FF9-BA62-8BE181B168A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5772610</c:v>
                </c:pt>
                <c:pt idx="5">
                  <c:v>5715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3BA-4FF9-BA62-8BE181B168A9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981468</c:v>
                </c:pt>
                <c:pt idx="5">
                  <c:v>1752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BA-4FF9-BA62-8BE181B168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8743152"/>
        <c:axId val="1"/>
      </c:barChart>
      <c:catAx>
        <c:axId val="908743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9696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87431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825847386875939E-3"/>
          <c:y val="5.4621848739495799E-2"/>
          <c:w val="0.98263483052262479"/>
          <c:h val="0.890756302521008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37C-4188-9BFC-9663AEEBF782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37C-4188-9BFC-9663AEEBF782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2988944</c:v>
                </c:pt>
                <c:pt idx="1">
                  <c:v>24381112</c:v>
                </c:pt>
                <c:pt idx="2">
                  <c:v>16817445</c:v>
                </c:pt>
                <c:pt idx="3">
                  <c:v>16817445</c:v>
                </c:pt>
                <c:pt idx="4">
                  <c:v>18019572</c:v>
                </c:pt>
                <c:pt idx="5">
                  <c:v>21500234</c:v>
                </c:pt>
                <c:pt idx="6">
                  <c:v>26273174</c:v>
                </c:pt>
                <c:pt idx="7">
                  <c:v>3453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7C-4188-9BFC-9663AEEBF782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37C-4188-9BFC-9663AEEBF78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37C-4188-9BFC-9663AEEBF782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37C-4188-9BFC-9663AEEBF782}"/>
              </c:ext>
            </c:extLst>
          </c:dPt>
          <c:dPt>
            <c:idx val="4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637C-4188-9BFC-9663AEEBF78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637C-4188-9BFC-9663AEEBF782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444751</c:v>
                </c:pt>
                <c:pt idx="1">
                  <c:v>3600721</c:v>
                </c:pt>
                <c:pt idx="2">
                  <c:v>7563667</c:v>
                </c:pt>
                <c:pt idx="3">
                  <c:v>1202127</c:v>
                </c:pt>
                <c:pt idx="4">
                  <c:v>3480662</c:v>
                </c:pt>
                <c:pt idx="5">
                  <c:v>4772940</c:v>
                </c:pt>
                <c:pt idx="6">
                  <c:v>464069</c:v>
                </c:pt>
                <c:pt idx="7">
                  <c:v>52176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37C-4188-9BFC-9663AEEBF782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637C-4188-9BFC-9663AEEBF782}"/>
              </c:ext>
            </c:extLst>
          </c:dPt>
          <c:val>
            <c:numRef>
              <c:f>Sheet1!$A$3:$H$3</c:f>
              <c:numCache>
                <c:formatCode>General</c:formatCode>
                <c:ptCount val="8"/>
                <c:pt idx="0">
                  <c:v>0</c:v>
                </c:pt>
                <c:pt idx="7">
                  <c:v>34806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37C-4188-9BFC-9663AEEBF782}"/>
            </c:ext>
          </c:extLst>
        </c:ser>
        <c:ser>
          <c:idx val="3"/>
          <c:order val="3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4:$H$4</c:f>
              <c:numCache>
                <c:formatCode>General</c:formatCode>
                <c:ptCount val="8"/>
                <c:pt idx="0">
                  <c:v>13006741</c:v>
                </c:pt>
                <c:pt idx="7">
                  <c:v>14208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37C-4188-9BFC-9663AEEBF782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5:$H$5</c:f>
              <c:numCache>
                <c:formatCode>General</c:formatCode>
                <c:ptCount val="8"/>
                <c:pt idx="0">
                  <c:v>7931581</c:v>
                </c:pt>
                <c:pt idx="7">
                  <c:v>367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37C-4188-9BFC-9663AEEBF782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H$6</c:f>
              <c:numCache>
                <c:formatCode>General</c:formatCode>
                <c:ptCount val="8"/>
                <c:pt idx="0">
                  <c:v>3609816</c:v>
                </c:pt>
                <c:pt idx="7">
                  <c:v>9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37C-4188-9BFC-9663AEEBF7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9558224"/>
        <c:axId val="1"/>
      </c:barChart>
      <c:catAx>
        <c:axId val="479558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9818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9558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825847386875939E-3"/>
          <c:y val="5.4621848739495799E-2"/>
          <c:w val="0.98263483052262479"/>
          <c:h val="0.890756302521008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D6-4BA8-9011-F46FB56D19C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D6-4BA8-9011-F46FB56D19C6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2988944</c:v>
                </c:pt>
                <c:pt idx="1">
                  <c:v>26861457</c:v>
                </c:pt>
                <c:pt idx="2">
                  <c:v>24891539</c:v>
                </c:pt>
                <c:pt idx="3">
                  <c:v>24761639</c:v>
                </c:pt>
                <c:pt idx="4">
                  <c:v>24761639</c:v>
                </c:pt>
                <c:pt idx="5">
                  <c:v>25918531</c:v>
                </c:pt>
                <c:pt idx="6">
                  <c:v>30691471</c:v>
                </c:pt>
                <c:pt idx="7">
                  <c:v>3453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D6-4BA8-9011-F46FB56D19C6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9D6-4BA8-9011-F46FB56D19C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9D6-4BA8-9011-F46FB56D19C6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9D6-4BA8-9011-F46FB56D19C6}"/>
              </c:ext>
            </c:extLst>
          </c:dPt>
          <c:dPt>
            <c:idx val="4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9D6-4BA8-9011-F46FB56D19C6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9D6-4BA8-9011-F46FB56D19C6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444751</c:v>
                </c:pt>
                <c:pt idx="1">
                  <c:v>1120376</c:v>
                </c:pt>
                <c:pt idx="2">
                  <c:v>1969918</c:v>
                </c:pt>
                <c:pt idx="3">
                  <c:v>129900</c:v>
                </c:pt>
                <c:pt idx="4">
                  <c:v>1156892</c:v>
                </c:pt>
                <c:pt idx="5">
                  <c:v>4772940</c:v>
                </c:pt>
                <c:pt idx="6">
                  <c:v>464069</c:v>
                </c:pt>
                <c:pt idx="7">
                  <c:v>52176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9D6-4BA8-9011-F46FB56D19C6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9D6-4BA8-9011-F46FB56D19C6}"/>
              </c:ext>
            </c:extLst>
          </c:dPt>
          <c:val>
            <c:numRef>
              <c:f>Sheet1!$A$3:$H$3</c:f>
              <c:numCache>
                <c:formatCode>General</c:formatCode>
                <c:ptCount val="8"/>
                <c:pt idx="0">
                  <c:v>0</c:v>
                </c:pt>
                <c:pt idx="7">
                  <c:v>1156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9D6-4BA8-9011-F46FB56D19C6}"/>
            </c:ext>
          </c:extLst>
        </c:ser>
        <c:ser>
          <c:idx val="3"/>
          <c:order val="3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4:$H$4</c:f>
              <c:numCache>
                <c:formatCode>General</c:formatCode>
                <c:ptCount val="8"/>
                <c:pt idx="0">
                  <c:v>13006741</c:v>
                </c:pt>
                <c:pt idx="7">
                  <c:v>12876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9D6-4BA8-9011-F46FB56D19C6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5:$H$5</c:f>
              <c:numCache>
                <c:formatCode>General</c:formatCode>
                <c:ptCount val="8"/>
                <c:pt idx="0">
                  <c:v>7931581</c:v>
                </c:pt>
                <c:pt idx="7">
                  <c:v>5961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9D6-4BA8-9011-F46FB56D19C6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H$6</c:f>
              <c:numCache>
                <c:formatCode>General</c:formatCode>
                <c:ptCount val="8"/>
                <c:pt idx="0">
                  <c:v>3609816</c:v>
                </c:pt>
                <c:pt idx="7">
                  <c:v>24894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9D6-4BA8-9011-F46FB56D19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6947376"/>
        <c:axId val="1"/>
      </c:barChart>
      <c:catAx>
        <c:axId val="476947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1555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6947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7</cx:f>
        <cx:lvl ptCount="6">
          <cx:pt idx="0">2019 (A)</cx:pt>
          <cx:pt idx="1">DBAI</cx:pt>
          <cx:pt idx="2">D&amp;B Credit</cx:pt>
          <cx:pt idx="3">GDM &amp; Toolkit</cx:pt>
          <cx:pt idx="4">Other products not concerned by the migration</cx:pt>
          <cx:pt idx="5">2020 (A)</cx:pt>
        </cx:lvl>
      </cx:strDim>
      <cx:numDim type="val">
        <cx:f>Sheet1!$B$2:$B$7</cx:f>
        <cx:lvl ptCount="6" formatCode="# ##0">
          <cx:pt idx="0">33969627.070000008</cx:pt>
          <cx:pt idx="1">-229273.90000000037</cx:pt>
          <cx:pt idx="2">-57219.19000000041</cx:pt>
          <cx:pt idx="3">-310599.05999999982</cx:pt>
          <cx:pt idx="4">-878537.4800000079</cx:pt>
          <cx:pt idx="5">32493997.440000005</cx:pt>
        </cx:lvl>
      </cx:numDim>
    </cx:data>
  </cx:chartData>
  <cx:chart>
    <cx:plotArea>
      <cx:plotAreaRegion>
        <cx:series layoutId="waterfall" uniqueId="{FB69AFDF-2CF5-4710-9B9C-670C394649A9}">
          <cx:tx>
            <cx:txData>
              <cx:f>Sheet1!$B$1</cx:f>
              <cx:v>Series1</cx:v>
            </cx:txData>
          </cx:tx>
          <cx:dataPt idx="0">
            <cx:spPr>
              <a:solidFill>
                <a:srgbClr val="289B38"/>
              </a:solidFill>
            </cx:spPr>
          </cx:dataPt>
          <cx:dataPt idx="5">
            <cx:spPr>
              <a:solidFill>
                <a:srgbClr val="289B38"/>
              </a:solidFill>
            </cx:spPr>
          </cx:dataPt>
          <cx:dataPt idx="7">
            <cx:spPr>
              <a:solidFill>
                <a:srgbClr val="289B38"/>
              </a:solidFill>
            </cx:spPr>
          </cx:dataPt>
          <cx:dataLabels pos="outEnd">
            <cx:numFmt formatCode="0.0" sourceLinked="0"/>
            <cx:txPr>
              <a:bodyPr vertOverflow="overflow" horzOverflow="overflow" wrap="square" lIns="0" tIns="0" rIns="0" bIns="0"/>
              <a:lstStyle/>
              <a:p>
                <a:pPr algn="ctr" rtl="0">
                  <a:defRPr sz="1000" b="0" i="0">
                    <a:solidFill>
                      <a:schemeClr val="tx1"/>
                    </a:solidFill>
                    <a:latin typeface="Trebuchet MS" panose="020B0603020202020204" pitchFamily="34" charset="0"/>
                    <a:ea typeface="Trebuchet MS" panose="020B0603020202020204" pitchFamily="34" charset="0"/>
                    <a:cs typeface="Trebuchet MS" panose="020B0603020202020204" pitchFamily="34" charset="0"/>
                  </a:defRPr>
                </a:pPr>
                <a:endParaRPr lang="fr-FR" sz="1000">
                  <a:solidFill>
                    <a:schemeClr val="tx1"/>
                  </a:solidFill>
                </a:endParaRPr>
              </a:p>
            </cx:txPr>
            <cx:visibility seriesName="0" categoryName="0" value="1"/>
            <cx:separator>, </cx:separator>
            <cx:dataLabel idx="0">
              <cx:numFmt formatCode="0.0" sourceLinked="0"/>
              <cx:txPr>
                <a:bodyPr vertOverflow="overflow" horzOverflow="overflow" wrap="square" lIns="0" tIns="0" rIns="0" bIns="0"/>
                <a:lstStyle/>
                <a:p>
                  <a:pPr algn="ctr" rtl="0">
                    <a:defRPr b="1"/>
                  </a:pPr>
                  <a:r>
                    <a:rPr lang="fr-FR" sz="1000" b="1">
                      <a:solidFill>
                        <a:schemeClr val="tx1"/>
                      </a:solidFill>
                    </a:rPr>
                    <a:t>34.0</a:t>
                  </a:r>
                </a:p>
              </cx:txPr>
              <cx:visibility seriesName="0" categoryName="0" value="1"/>
              <cx:separator>, </cx:separator>
            </cx:dataLabel>
            <cx:dataLabel idx="5">
              <cx:numFmt formatCode="0.0" sourceLinked="0"/>
              <cx:txPr>
                <a:bodyPr vertOverflow="overflow" horzOverflow="overflow" wrap="square" lIns="0" tIns="0" rIns="0" bIns="0"/>
                <a:lstStyle/>
                <a:p>
                  <a:pPr algn="ctr" rtl="0">
                    <a:defRPr b="1"/>
                  </a:pPr>
                  <a:r>
                    <a:rPr lang="fr-FR" sz="1000" b="1">
                      <a:solidFill>
                        <a:schemeClr val="tx1"/>
                      </a:solidFill>
                    </a:rPr>
                    <a:t>32.5</a:t>
                  </a:r>
                </a:p>
              </cx:txPr>
              <cx:visibility seriesName="0" categoryName="0" value="1"/>
              <cx:separator>, </cx:separator>
            </cx:dataLabel>
          </cx:dataLabels>
          <cx:dataId val="0"/>
          <cx:layoutPr>
            <cx:subtotals>
              <cx:idx val="0"/>
              <cx:idx val="5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>
                <a:solidFill>
                  <a:schemeClr val="tx1"/>
                </a:solidFill>
              </a:defRPr>
            </a:pPr>
            <a:endParaRPr lang="en-US" sz="800" b="0" i="0" u="none" strike="noStrike" baseline="0">
              <a:solidFill>
                <a:schemeClr val="tx1"/>
              </a:solidFill>
              <a:latin typeface="Trebuchet MS"/>
            </a:endParaRPr>
          </a:p>
        </cx:txPr>
      </cx:axis>
      <cx:axis id="1" hidden="1">
        <cx:valScaling/>
        <cx:units unit="millions"/>
        <cx:tickLabels/>
        <cx:numFmt formatCode="0.0" sourceLinked="0"/>
        <cx:txPr>
          <a:bodyPr vertOverflow="overflow" horzOverflow="overflow" wrap="square" lIns="0" tIns="0" rIns="0" bIns="0"/>
          <a:lstStyle/>
          <a:p>
            <a:pPr algn="ctr" rtl="0">
              <a:defRPr sz="1000" b="0" i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</a:defRPr>
            </a:pPr>
            <a:endParaRPr lang="fr-FR" sz="1000">
              <a:solidFill>
                <a:schemeClr val="tx1"/>
              </a:solidFill>
            </a:endParaRPr>
          </a:p>
        </cx:txPr>
      </cx:axis>
    </cx:plotArea>
  </cx:chart>
  <cx:spPr>
    <a:solidFill>
      <a:schemeClr val="bg1"/>
    </a:solidFill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7</cx:f>
        <cx:lvl ptCount="6">
          <cx:pt idx="0">2019 (A)</cx:pt>
          <cx:pt idx="1">DBAI</cx:pt>
          <cx:pt idx="2">D&amp;B Credit</cx:pt>
          <cx:pt idx="3">GDM &amp; Toolkit</cx:pt>
          <cx:pt idx="4">Other products not concerned by the migration</cx:pt>
          <cx:pt idx="5">2020 (A)</cx:pt>
        </cx:lvl>
      </cx:strDim>
      <cx:numDim type="val">
        <cx:f>Sheet1!$B$2:$B$7</cx:f>
        <cx:lvl ptCount="6" formatCode="# ##0">
          <cx:pt idx="0">33969627.070000008</cx:pt>
          <cx:pt idx="1">-1257732.9000000004</cx:pt>
          <cx:pt idx="2">264969.79999999981</cx:pt>
          <cx:pt idx="3">-310599.05999999982</cx:pt>
          <cx:pt idx="4">-878537.4800000079</cx:pt>
          <cx:pt idx="5">31787727.430000003</cx:pt>
        </cx:lvl>
      </cx:numDim>
    </cx:data>
  </cx:chartData>
  <cx:chart>
    <cx:plotArea>
      <cx:plotAreaRegion>
        <cx:series layoutId="waterfall" uniqueId="{FB69AFDF-2CF5-4710-9B9C-670C394649A9}">
          <cx:tx>
            <cx:txData>
              <cx:f>Sheet1!$B$1</cx:f>
              <cx:v>Series1</cx:v>
            </cx:txData>
          </cx:tx>
          <cx:dataPt idx="0">
            <cx:spPr>
              <a:solidFill>
                <a:srgbClr val="289B38"/>
              </a:solidFill>
            </cx:spPr>
          </cx:dataPt>
          <cx:dataPt idx="5">
            <cx:spPr>
              <a:solidFill>
                <a:srgbClr val="289B38"/>
              </a:solidFill>
            </cx:spPr>
          </cx:dataPt>
          <cx:dataPt idx="7">
            <cx:spPr>
              <a:solidFill>
                <a:srgbClr val="289B38"/>
              </a:solidFill>
            </cx:spPr>
          </cx:dataPt>
          <cx:dataLabels pos="outEnd">
            <cx:numFmt formatCode="0.0" sourceLinked="0"/>
            <cx:txPr>
              <a:bodyPr vertOverflow="overflow" horzOverflow="overflow" wrap="square" lIns="0" tIns="0" rIns="0" bIns="0"/>
              <a:lstStyle/>
              <a:p>
                <a:pPr algn="ctr" rtl="0">
                  <a:defRPr sz="1000" b="1" i="0">
                    <a:solidFill>
                      <a:schemeClr val="tx1"/>
                    </a:solidFill>
                    <a:latin typeface="Trebuchet MS" panose="020B0603020202020204" pitchFamily="34" charset="0"/>
                    <a:ea typeface="Trebuchet MS" panose="020B0603020202020204" pitchFamily="34" charset="0"/>
                    <a:cs typeface="Trebuchet MS" panose="020B0603020202020204" pitchFamily="34" charset="0"/>
                  </a:defRPr>
                </a:pPr>
                <a:endParaRPr lang="fr-FR" sz="1000" b="1">
                  <a:solidFill>
                    <a:schemeClr val="tx1"/>
                  </a:solidFill>
                </a:endParaRPr>
              </a:p>
            </cx:txPr>
            <cx:visibility seriesName="0" categoryName="0" value="1"/>
            <cx:separator>, </cx:separator>
            <cx:dataLabel idx="0">
              <cx:numFmt formatCode="0.0" sourceLinked="0"/>
              <cx:txPr>
                <a:bodyPr vertOverflow="overflow" horzOverflow="overflow" wrap="square" lIns="0" tIns="0" rIns="0" bIns="0"/>
                <a:lstStyle/>
                <a:p>
                  <a:pPr algn="ctr" rtl="0">
                    <a:defRPr b="1"/>
                  </a:pPr>
                  <a:r>
                    <a:rPr lang="fr-FR" sz="1000" b="1">
                      <a:solidFill>
                        <a:schemeClr val="tx1"/>
                      </a:solidFill>
                    </a:rPr>
                    <a:t>34.0</a:t>
                  </a:r>
                </a:p>
              </cx:txPr>
              <cx:visibility seriesName="0" categoryName="0" value="1"/>
              <cx:separator>, </cx:separator>
            </cx:dataLabel>
          </cx:dataLabels>
          <cx:dataId val="0"/>
          <cx:layoutPr>
            <cx:subtotals>
              <cx:idx val="0"/>
              <cx:idx val="5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 b="1">
                <a:solidFill>
                  <a:schemeClr val="tx1"/>
                </a:solidFill>
              </a:defRPr>
            </a:pPr>
            <a:endParaRPr lang="en-US" sz="800" b="1" i="0" u="none" strike="noStrike" baseline="0">
              <a:solidFill>
                <a:schemeClr val="tx1"/>
              </a:solidFill>
              <a:latin typeface="Trebuchet MS"/>
            </a:endParaRPr>
          </a:p>
        </cx:txPr>
      </cx:axis>
      <cx:axis id="1" hidden="1">
        <cx:valScaling/>
        <cx:units unit="millions"/>
        <cx:tickLabels/>
        <cx:numFmt formatCode="0.0" sourceLinked="0"/>
        <cx:txPr>
          <a:bodyPr vertOverflow="overflow" horzOverflow="overflow" wrap="square" lIns="0" tIns="0" rIns="0" bIns="0"/>
          <a:lstStyle/>
          <a:p>
            <a:pPr algn="ctr" rtl="0">
              <a:defRPr sz="1000" b="1" i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</a:defRPr>
            </a:pPr>
            <a:endParaRPr lang="fr-FR" sz="1000" b="1">
              <a:solidFill>
                <a:schemeClr val="tx1"/>
              </a:solidFill>
            </a:endParaRPr>
          </a:p>
        </cx:txPr>
      </cx:axis>
    </cx:plotArea>
  </cx:chart>
  <cx:spPr>
    <a:solidFill>
      <a:schemeClr val="bg1"/>
    </a:solidFill>
  </cx:spPr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2019 (A)</cx:pt>
          <cx:pt idx="1">DNBi</cx:pt>
          <cx:pt idx="2">DBAI (incl Toolkit Usage)</cx:pt>
          <cx:pt idx="3">D&amp;B Credit</cx:pt>
          <cx:pt idx="4">Shared Bucket</cx:pt>
          <cx:pt idx="5">GDM &amp; Toolkit</cx:pt>
          <cx:pt idx="6">Other products not concerned by the migration</cx:pt>
          <cx:pt idx="7">2020 (A)</cx:pt>
        </cx:lvl>
      </cx:strDim>
      <cx:numDim type="val">
        <cx:f>Sheet1!$B$2:$B$9</cx:f>
        <cx:lvl ptCount="8" formatCode="0">
          <cx:pt idx="0">27981833</cx:pt>
          <cx:pt idx="1">-3600721</cx:pt>
          <cx:pt idx="2">-7563667</cx:pt>
          <cx:pt idx="3">1202127</cx:pt>
          <cx:pt idx="4">3480662</cx:pt>
          <cx:pt idx="5">4772940</cx:pt>
          <cx:pt idx="6">464069</cx:pt>
          <cx:pt idx="7">26737243</cx:pt>
        </cx:lvl>
      </cx:numDim>
    </cx:data>
  </cx:chartData>
  <cx:chart>
    <cx:plotArea>
      <cx:plotAreaRegion>
        <cx:series layoutId="waterfall" uniqueId="{FB69AFDF-2CF5-4710-9B9C-670C394649A9}">
          <cx:tx>
            <cx:txData>
              <cx:f>Sheet1!$B$1</cx:f>
              <cx:v>Series1</cx:v>
            </cx:txData>
          </cx:tx>
          <cx:dataPt idx="0">
            <cx:spPr>
              <a:solidFill>
                <a:srgbClr val="289B38"/>
              </a:solidFill>
            </cx:spPr>
          </cx:dataPt>
          <cx:dataPt idx="7">
            <cx:spPr>
              <a:solidFill>
                <a:srgbClr val="289B38"/>
              </a:solidFill>
            </cx:spPr>
          </cx:dataPt>
          <cx:dataLabels pos="outEnd">
            <cx:numFmt formatCode="0.0" sourceLinked="0"/>
            <cx:txPr>
              <a:bodyPr vertOverflow="overflow" horzOverflow="overflow" wrap="square" lIns="0" tIns="0" rIns="0" bIns="0"/>
              <a:lstStyle/>
              <a:p>
                <a:pPr algn="ctr" rtl="0">
                  <a:defRPr sz="1000" b="0" i="0">
                    <a:solidFill>
                      <a:schemeClr val="tx1"/>
                    </a:solidFill>
                    <a:latin typeface="Trebuchet MS" panose="020B0603020202020204" pitchFamily="34" charset="0"/>
                    <a:ea typeface="Trebuchet MS" panose="020B0603020202020204" pitchFamily="34" charset="0"/>
                    <a:cs typeface="Trebuchet MS" panose="020B0603020202020204" pitchFamily="34" charset="0"/>
                  </a:defRPr>
                </a:pPr>
                <a:endParaRPr lang="fr-FR" sz="1000">
                  <a:solidFill>
                    <a:schemeClr val="tx1"/>
                  </a:solidFill>
                </a:endParaRPr>
              </a:p>
            </cx:txPr>
            <cx:visibility seriesName="0" categoryName="0" value="1"/>
            <cx:separator>, </cx:separator>
            <cx:dataLabel idx="0">
              <cx:numFmt formatCode="0.0" sourceLinked="0"/>
              <cx:txPr>
                <a:bodyPr vertOverflow="overflow" horzOverflow="overflow" wrap="square" lIns="0" tIns="0" rIns="0" bIns="0"/>
                <a:lstStyle/>
                <a:p>
                  <a:pPr algn="ctr" rtl="0">
                    <a:defRPr b="1"/>
                  </a:pPr>
                  <a:r>
                    <a:rPr lang="fr-FR" sz="1000" b="1">
                      <a:solidFill>
                        <a:schemeClr val="tx1"/>
                      </a:solidFill>
                    </a:rPr>
                    <a:t>28.0</a:t>
                  </a:r>
                </a:p>
              </cx:txPr>
              <cx:visibility seriesName="0" categoryName="0" value="1"/>
              <cx:separator>, </cx:separator>
            </cx:dataLabel>
            <cx:dataLabel idx="7">
              <cx:numFmt formatCode="0.0" sourceLinked="0"/>
              <cx:txPr>
                <a:bodyPr vertOverflow="overflow" horzOverflow="overflow" wrap="square" lIns="0" tIns="0" rIns="0" bIns="0"/>
                <a:lstStyle/>
                <a:p>
                  <a:pPr algn="ctr" rtl="0">
                    <a:defRPr b="1"/>
                  </a:pPr>
                  <a:r>
                    <a:rPr lang="fr-FR" sz="1000" b="1">
                      <a:solidFill>
                        <a:schemeClr val="tx1"/>
                      </a:solidFill>
                    </a:rPr>
                    <a:t>26.7</a:t>
                  </a:r>
                </a:p>
              </cx:txPr>
              <cx:visibility seriesName="0" categoryName="0" value="1"/>
              <cx:separator>, </cx:separator>
            </cx:dataLabel>
          </cx:dataLabels>
          <cx:dataId val="0"/>
          <cx:layoutPr>
            <cx:subtotals>
              <cx:idx val="0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>
                <a:solidFill>
                  <a:schemeClr val="tx1"/>
                </a:solidFill>
              </a:defRPr>
            </a:pPr>
            <a:endParaRPr lang="en-US" sz="800" b="0" i="0" u="none" strike="noStrike" baseline="0">
              <a:solidFill>
                <a:schemeClr val="tx1"/>
              </a:solidFill>
              <a:latin typeface="Trebuchet MS"/>
            </a:endParaRPr>
          </a:p>
        </cx:txPr>
      </cx:axis>
      <cx:axis id="1" hidden="1">
        <cx:valScaling/>
        <cx:units unit="millions"/>
        <cx:tickLabels/>
        <cx:numFmt formatCode="0.0" sourceLinked="0"/>
        <cx:txPr>
          <a:bodyPr vertOverflow="overflow" horzOverflow="overflow" wrap="square" lIns="0" tIns="0" rIns="0" bIns="0"/>
          <a:lstStyle/>
          <a:p>
            <a:pPr algn="ctr" rtl="0">
              <a:defRPr sz="1000" b="0" i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</a:defRPr>
            </a:pPr>
            <a:endParaRPr lang="fr-FR" sz="1000">
              <a:solidFill>
                <a:schemeClr val="tx1"/>
              </a:solidFill>
            </a:endParaRPr>
          </a:p>
        </cx:txPr>
      </cx:axis>
    </cx:plotArea>
  </cx:chart>
  <cx:spPr>
    <a:solidFill>
      <a:schemeClr val="bg1"/>
    </a:solidFill>
  </cx:spPr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9</cx:f>
        <cx:lvl ptCount="8">
          <cx:pt idx="0">2019 (A)</cx:pt>
          <cx:pt idx="1">DNBi</cx:pt>
          <cx:pt idx="2">DBAI (incl Toolkit Usage)</cx:pt>
          <cx:pt idx="3">D&amp;B Credit</cx:pt>
          <cx:pt idx="4">Shared Bucket</cx:pt>
          <cx:pt idx="5">GDM &amp; Toolkit</cx:pt>
          <cx:pt idx="6">Other products not concerned by the migration</cx:pt>
          <cx:pt idx="7">2020 without migration</cx:pt>
        </cx:lvl>
      </cx:strDim>
      <cx:numDim type="val">
        <cx:f>Sheet1!$B$2:$B$9</cx:f>
        <cx:lvl ptCount="8" formatCode="0">
          <cx:pt idx="0">27981833</cx:pt>
          <cx:pt idx="1">-1120376</cx:pt>
          <cx:pt idx="2">-1969918</cx:pt>
          <cx:pt idx="3">-129900</cx:pt>
          <cx:pt idx="4">1156892</cx:pt>
          <cx:pt idx="5">4772940</cx:pt>
          <cx:pt idx="6">464069</cx:pt>
          <cx:pt idx="7">31155540</cx:pt>
        </cx:lvl>
      </cx:numDim>
    </cx:data>
  </cx:chartData>
  <cx:chart>
    <cx:plotArea>
      <cx:plotAreaRegion>
        <cx:series layoutId="waterfall" uniqueId="{FB69AFDF-2CF5-4710-9B9C-670C394649A9}">
          <cx:tx>
            <cx:txData>
              <cx:f>Sheet1!$B$1</cx:f>
              <cx:v>Series1</cx:v>
            </cx:txData>
          </cx:tx>
          <cx:dataPt idx="0">
            <cx:spPr>
              <a:solidFill>
                <a:srgbClr val="289B38"/>
              </a:solidFill>
            </cx:spPr>
          </cx:dataPt>
          <cx:dataPt idx="7">
            <cx:spPr>
              <a:solidFill>
                <a:srgbClr val="289B38"/>
              </a:solidFill>
            </cx:spPr>
          </cx:dataPt>
          <cx:dataLabels pos="outEnd">
            <cx:numFmt formatCode="0.0" sourceLinked="0"/>
            <cx:txPr>
              <a:bodyPr vertOverflow="overflow" horzOverflow="overflow" wrap="square" lIns="0" tIns="0" rIns="0" bIns="0"/>
              <a:lstStyle/>
              <a:p>
                <a:pPr algn="ctr" rtl="0">
                  <a:defRPr sz="1000" b="1" i="0">
                    <a:solidFill>
                      <a:schemeClr val="tx1"/>
                    </a:solidFill>
                    <a:latin typeface="Trebuchet MS" panose="020B0603020202020204" pitchFamily="34" charset="0"/>
                    <a:ea typeface="Trebuchet MS" panose="020B0603020202020204" pitchFamily="34" charset="0"/>
                    <a:cs typeface="Trebuchet MS" panose="020B0603020202020204" pitchFamily="34" charset="0"/>
                  </a:defRPr>
                </a:pPr>
                <a:endParaRPr lang="fr-FR" sz="1000" b="1">
                  <a:solidFill>
                    <a:schemeClr val="tx1"/>
                  </a:solidFill>
                </a:endParaRPr>
              </a:p>
            </cx:txPr>
            <cx:visibility seriesName="0" categoryName="0" value="1"/>
            <cx:separator>, </cx:separator>
            <cx:dataLabel idx="0">
              <cx:numFmt formatCode="0.0" sourceLinked="0"/>
              <cx:txPr>
                <a:bodyPr vertOverflow="overflow" horzOverflow="overflow" wrap="square" lIns="0" tIns="0" rIns="0" bIns="0"/>
                <a:lstStyle/>
                <a:p>
                  <a:pPr algn="ctr" rtl="0">
                    <a:defRPr b="1"/>
                  </a:pPr>
                  <a:r>
                    <a:rPr lang="fr-FR" sz="1000" b="1">
                      <a:solidFill>
                        <a:schemeClr val="tx1"/>
                      </a:solidFill>
                    </a:rPr>
                    <a:t>28.0</a:t>
                  </a:r>
                </a:p>
              </cx:txPr>
              <cx:visibility seriesName="0" categoryName="0" value="1"/>
              <cx:separator>, </cx:separator>
            </cx:dataLabel>
          </cx:dataLabels>
          <cx:dataId val="0"/>
          <cx:layoutPr>
            <cx:subtotals>
              <cx:idx val="0"/>
              <cx:idx val="7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 b="1">
                <a:solidFill>
                  <a:schemeClr val="tx1"/>
                </a:solidFill>
              </a:defRPr>
            </a:pPr>
            <a:endParaRPr lang="en-US" sz="800" b="1" i="0" u="none" strike="noStrike" baseline="0">
              <a:solidFill>
                <a:schemeClr val="tx1"/>
              </a:solidFill>
              <a:latin typeface="Trebuchet MS"/>
            </a:endParaRPr>
          </a:p>
        </cx:txPr>
      </cx:axis>
      <cx:axis id="1" hidden="1">
        <cx:valScaling/>
        <cx:units unit="millions"/>
        <cx:tickLabels/>
        <cx:numFmt formatCode="0.0" sourceLinked="0"/>
        <cx:txPr>
          <a:bodyPr vertOverflow="overflow" horzOverflow="overflow" wrap="square" lIns="0" tIns="0" rIns="0" bIns="0"/>
          <a:lstStyle/>
          <a:p>
            <a:pPr algn="ctr" rtl="0">
              <a:defRPr sz="1000" b="1" i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</a:defRPr>
            </a:pPr>
            <a:endParaRPr lang="fr-FR" sz="1000" b="1">
              <a:solidFill>
                <a:schemeClr val="tx1"/>
              </a:solidFill>
            </a:endParaRPr>
          </a:p>
        </cx:txPr>
      </cx:axis>
    </cx:plotArea>
  </cx:chart>
  <cx:spPr>
    <a:solidFill>
      <a:schemeClr val="bg1"/>
    </a:solidFill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3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/>
              <a:t>Click to edit Master title sty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DAB023CD-156D-4860-ACD8-2D21E20907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317899223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C0C73928-E24E-4BBC-9DAA-A9A83623FF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102112630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en-GB"/>
              <a:t>Click to edit Master title style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65600" y="943200"/>
            <a:ext cx="9540000" cy="543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 marL="363537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j-lt"/>
                <a:cs typeface="Arial" pitchFamily="34" charset="0"/>
              </a:defRPr>
            </a:lvl2pPr>
            <a:lvl3pPr marL="623887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+mj-lt"/>
                <a:cs typeface="Arial" pitchFamily="34" charset="0"/>
              </a:defRPr>
            </a:lvl3pPr>
            <a:lvl4pPr marL="906463" indent="0">
              <a:buFont typeface="Arial" panose="020B0604020202020204" pitchFamily="34" charset="0"/>
              <a:buNone/>
              <a:defRPr lang="en-GB" sz="1000" dirty="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 marL="1174750" indent="0">
              <a:buFont typeface="Arial" panose="020B0604020202020204" pitchFamily="34" charset="0"/>
              <a:buNone/>
              <a:defRPr lang="fr-FR" altLang="en-GB" sz="1000" noProof="0" dirty="0" smtClean="0">
                <a:solidFill>
                  <a:schemeClr val="tx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4"/>
            <a:endParaRPr lang="fr-FR" noProof="0"/>
          </a:p>
          <a:p>
            <a:pPr lvl="3"/>
            <a:endParaRPr lang="fr-FR" noProof="0"/>
          </a:p>
          <a:p>
            <a:pPr lvl="3"/>
            <a:endParaRPr lang="fr-FR" noProof="0"/>
          </a:p>
          <a:p>
            <a:pPr lvl="4"/>
            <a:endParaRPr lang="fr-FR" noProof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B1654254-4792-4FA9-8477-E72E811378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26112105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double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GB"/>
              <a:t>Click to edit Master title style</a:t>
            </a:r>
          </a:p>
        </p:txBody>
      </p:sp>
      <p:sp>
        <p:nvSpPr>
          <p:cNvPr id="5" name="Espace réservé du texte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63633" y="1789043"/>
            <a:ext cx="4356000" cy="45228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533400" indent="0">
              <a:buNone/>
              <a:defRPr sz="1100">
                <a:solidFill>
                  <a:schemeClr val="tx1"/>
                </a:solidFill>
              </a:defRPr>
            </a:lvl2pPr>
            <a:lvl3pPr marL="847725" indent="0">
              <a:buNone/>
              <a:defRPr sz="1100">
                <a:solidFill>
                  <a:schemeClr val="tx1"/>
                </a:solidFill>
              </a:defRPr>
            </a:lvl3pPr>
            <a:lvl4pPr marL="1368425" indent="0">
              <a:buNone/>
              <a:defRPr sz="1100">
                <a:solidFill>
                  <a:schemeClr val="tx1"/>
                </a:solidFill>
              </a:defRPr>
            </a:lvl4pPr>
            <a:lvl5pPr marL="198120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1" hasCustomPrompt="1"/>
            <p:custDataLst>
              <p:tags r:id="rId3"/>
            </p:custDataLst>
          </p:nvPr>
        </p:nvSpPr>
        <p:spPr>
          <a:xfrm>
            <a:off x="5211128" y="1789043"/>
            <a:ext cx="4356000" cy="45228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533400" indent="0">
              <a:buNone/>
              <a:defRPr sz="1100">
                <a:solidFill>
                  <a:schemeClr val="tx1"/>
                </a:solidFill>
              </a:defRPr>
            </a:lvl2pPr>
            <a:lvl3pPr marL="847725" indent="0">
              <a:buNone/>
              <a:defRPr sz="1100">
                <a:solidFill>
                  <a:schemeClr val="tx1"/>
                </a:solidFill>
              </a:defRPr>
            </a:lvl3pPr>
            <a:lvl4pPr marL="1368425" indent="0">
              <a:buNone/>
              <a:defRPr sz="1100">
                <a:solidFill>
                  <a:schemeClr val="tx1"/>
                </a:solidFill>
              </a:defRPr>
            </a:lvl4pPr>
            <a:lvl5pPr marL="1981200" indent="0"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3633" y="1084336"/>
            <a:ext cx="4354138" cy="364902"/>
          </a:xfrm>
        </p:spPr>
        <p:txBody>
          <a:bodyPr>
            <a:noAutofit/>
          </a:bodyPr>
          <a:lstStyle>
            <a:lvl1pPr marL="0" indent="0">
              <a:buNone/>
              <a:defRPr lang="fr-FR" sz="1400" b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Connecteur droit 2"/>
          <p:cNvCxnSpPr/>
          <p:nvPr/>
        </p:nvCxnSpPr>
        <p:spPr bwMode="auto">
          <a:xfrm>
            <a:off x="363633" y="1570005"/>
            <a:ext cx="43541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Connecteur droit 8"/>
          <p:cNvCxnSpPr/>
          <p:nvPr/>
        </p:nvCxnSpPr>
        <p:spPr bwMode="auto">
          <a:xfrm>
            <a:off x="5211128" y="1570005"/>
            <a:ext cx="43541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211128" y="1084336"/>
            <a:ext cx="4354138" cy="364902"/>
          </a:xfrm>
        </p:spPr>
        <p:txBody>
          <a:bodyPr>
            <a:noAutofit/>
          </a:bodyPr>
          <a:lstStyle>
            <a:lvl1pPr marL="0" indent="0">
              <a:buNone/>
              <a:defRPr lang="fr-FR" sz="1400" b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cxnSp>
        <p:nvCxnSpPr>
          <p:cNvPr id="8" name="Connecteur droit 7"/>
          <p:cNvCxnSpPr/>
          <p:nvPr/>
        </p:nvCxnSpPr>
        <p:spPr bwMode="auto">
          <a:xfrm>
            <a:off x="4951562" y="1789043"/>
            <a:ext cx="0" cy="45228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713081DF-1234-4172-BAF5-C8C5A3DB83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5274" y="6580025"/>
            <a:ext cx="7131600" cy="244800"/>
          </a:xfr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 kumimoji="0" lang="fr-FR" sz="800" b="0" i="1" u="none" strike="noStrike" kern="0" cap="none" spc="0" normalizeH="0" baseline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</a:defRPr>
            </a:lvl1pPr>
            <a:lvl2pPr>
              <a:defRPr lang="fr-FR" kern="1200" smtClean="0">
                <a:ea typeface="+mn-ea"/>
                <a:cs typeface="Arial" pitchFamily="34" charset="0"/>
              </a:defRPr>
            </a:lvl2pPr>
            <a:lvl3pPr>
              <a:defRPr lang="fr-FR" kern="1200" smtClean="0">
                <a:ea typeface="+mn-ea"/>
                <a:cs typeface="Arial" pitchFamily="34" charset="0"/>
              </a:defRPr>
            </a:lvl3pPr>
            <a:lvl4pPr>
              <a:defRPr lang="fr-FR" kern="1200" smtClean="0">
                <a:ea typeface="+mn-ea"/>
                <a:cs typeface="Arial" pitchFamily="34" charset="0"/>
              </a:defRPr>
            </a:lvl4pPr>
            <a:lvl5pPr>
              <a:defRPr lang="fr-FR" kern="1200">
                <a:ea typeface="+mn-ea"/>
                <a:cs typeface="Arial" pitchFamily="34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C6C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ources: </a:t>
            </a:r>
            <a:b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</a:br>
            <a:r>
              <a:rPr kumimoji="0" lang="fr-FR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  <a:r>
              <a:rPr kumimoji="0" lang="en-GB" sz="800" b="0" i="1" u="none" strike="noStrike" kern="0" cap="none" spc="0" normalizeH="0" baseline="0" noProof="0">
                <a:ln>
                  <a:noFill/>
                </a:ln>
                <a:solidFill>
                  <a:srgbClr val="6C6C6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Note	2. Note</a:t>
            </a:r>
          </a:p>
        </p:txBody>
      </p:sp>
    </p:spTree>
    <p:extLst>
      <p:ext uri="{BB962C8B-B14F-4D97-AF65-F5344CB8AC3E}">
        <p14:creationId xmlns:p14="http://schemas.microsoft.com/office/powerpoint/2010/main" val="42120974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975124" y="1845126"/>
            <a:ext cx="5209366" cy="461665"/>
          </a:xfrm>
        </p:spPr>
        <p:txBody>
          <a:bodyPr wrap="square" lIns="0" rIns="0">
            <a:spAutoFit/>
          </a:bodyPr>
          <a:lstStyle>
            <a:lvl1pPr>
              <a:defRPr kumimoji="0" lang="en-GB" sz="2400" b="1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Espace réservé du texte 50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975124" y="3859338"/>
            <a:ext cx="3676775" cy="3603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0" lang="fr-FR" sz="1200" b="0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</a:lstStyle>
          <a:p>
            <a:pPr marL="285750" lvl="0" indent="-285750"/>
            <a:r>
              <a:rPr lang="en-US"/>
              <a:t>Click to edit Master text styles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629747" y="6624385"/>
            <a:ext cx="4817743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2" name="Connecteur droit 11"/>
          <p:cNvCxnSpPr/>
          <p:nvPr/>
        </p:nvCxnSpPr>
        <p:spPr>
          <a:xfrm>
            <a:off x="629747" y="5709985"/>
            <a:ext cx="4817743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grpSp>
        <p:nvGrpSpPr>
          <p:cNvPr id="86" name="Graphique 7">
            <a:extLst>
              <a:ext uri="{FF2B5EF4-FFF2-40B4-BE49-F238E27FC236}">
                <a16:creationId xmlns:a16="http://schemas.microsoft.com/office/drawing/2014/main" id="{65C783B5-0FA9-4173-B7B2-D53A2BCB045D}"/>
              </a:ext>
            </a:extLst>
          </p:cNvPr>
          <p:cNvGrpSpPr/>
          <p:nvPr/>
        </p:nvGrpSpPr>
        <p:grpSpPr>
          <a:xfrm>
            <a:off x="3575509" y="5737845"/>
            <a:ext cx="1551553" cy="864631"/>
            <a:chOff x="2269715" y="1722641"/>
            <a:chExt cx="4324350" cy="2409825"/>
          </a:xfrm>
        </p:grpSpPr>
        <p:sp>
          <p:nvSpPr>
            <p:cNvPr id="87" name="Forme libre : forme 86">
              <a:extLst>
                <a:ext uri="{FF2B5EF4-FFF2-40B4-BE49-F238E27FC236}">
                  <a16:creationId xmlns:a16="http://schemas.microsoft.com/office/drawing/2014/main" id="{DC9A3497-21A3-45E3-A9E4-89DC78B9478D}"/>
                </a:ext>
              </a:extLst>
            </p:cNvPr>
            <p:cNvSpPr/>
            <p:nvPr/>
          </p:nvSpPr>
          <p:spPr>
            <a:xfrm>
              <a:off x="2436869" y="2236734"/>
              <a:ext cx="685800" cy="771525"/>
            </a:xfrm>
            <a:custGeom>
              <a:avLst/>
              <a:gdLst>
                <a:gd name="connsiteX0" fmla="*/ 673275 w 685800"/>
                <a:gd name="connsiteY0" fmla="*/ 400641 h 771525"/>
                <a:gd name="connsiteX1" fmla="*/ 144180 w 685800"/>
                <a:gd name="connsiteY1" fmla="*/ 400641 h 771525"/>
                <a:gd name="connsiteX2" fmla="*/ 214836 w 685800"/>
                <a:gd name="connsiteY2" fmla="*/ 598637 h 771525"/>
                <a:gd name="connsiteX3" fmla="*/ 375333 w 685800"/>
                <a:gd name="connsiteY3" fmla="*/ 658911 h 771525"/>
                <a:gd name="connsiteX4" fmla="*/ 561927 w 685800"/>
                <a:gd name="connsiteY4" fmla="*/ 593931 h 771525"/>
                <a:gd name="connsiteX5" fmla="*/ 616791 w 685800"/>
                <a:gd name="connsiteY5" fmla="*/ 687896 h 771525"/>
                <a:gd name="connsiteX6" fmla="*/ 524218 w 685800"/>
                <a:gd name="connsiteY6" fmla="*/ 739950 h 771525"/>
                <a:gd name="connsiteX7" fmla="*/ 350006 w 685800"/>
                <a:gd name="connsiteY7" fmla="*/ 768725 h 771525"/>
                <a:gd name="connsiteX8" fmla="*/ 114814 w 685800"/>
                <a:gd name="connsiteY8" fmla="*/ 674780 h 771525"/>
                <a:gd name="connsiteX9" fmla="*/ 7144 w 685800"/>
                <a:gd name="connsiteY9" fmla="*/ 396469 h 771525"/>
                <a:gd name="connsiteX10" fmla="*/ 117510 w 685800"/>
                <a:gd name="connsiteY10" fmla="*/ 105118 h 771525"/>
                <a:gd name="connsiteX11" fmla="*/ 351177 w 685800"/>
                <a:gd name="connsiteY11" fmla="*/ 7144 h 771525"/>
                <a:gd name="connsiteX12" fmla="*/ 597179 w 685800"/>
                <a:gd name="connsiteY12" fmla="*/ 95574 h 771525"/>
                <a:gd name="connsiteX13" fmla="*/ 683533 w 685800"/>
                <a:gd name="connsiteY13" fmla="*/ 321107 h 771525"/>
                <a:gd name="connsiteX14" fmla="*/ 673275 w 685800"/>
                <a:gd name="connsiteY14" fmla="*/ 400641 h 771525"/>
                <a:gd name="connsiteX15" fmla="*/ 357597 w 685800"/>
                <a:gd name="connsiteY15" fmla="*/ 116938 h 771525"/>
                <a:gd name="connsiteX16" fmla="*/ 211512 w 685800"/>
                <a:gd name="connsiteY16" fmla="*/ 173050 h 771525"/>
                <a:gd name="connsiteX17" fmla="*/ 147704 w 685800"/>
                <a:gd name="connsiteY17" fmla="*/ 305810 h 771525"/>
                <a:gd name="connsiteX18" fmla="*/ 554422 w 685800"/>
                <a:gd name="connsiteY18" fmla="*/ 305810 h 771525"/>
                <a:gd name="connsiteX19" fmla="*/ 505054 w 685800"/>
                <a:gd name="connsiteY19" fmla="*/ 174450 h 771525"/>
                <a:gd name="connsiteX20" fmla="*/ 357597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75" y="400641"/>
                  </a:moveTo>
                  <a:lnTo>
                    <a:pt x="144180" y="400641"/>
                  </a:lnTo>
                  <a:cubicBezTo>
                    <a:pt x="144180" y="486518"/>
                    <a:pt x="167735" y="552488"/>
                    <a:pt x="214836" y="598637"/>
                  </a:cubicBezTo>
                  <a:cubicBezTo>
                    <a:pt x="256470" y="638842"/>
                    <a:pt x="309934" y="658911"/>
                    <a:pt x="375333" y="658911"/>
                  </a:cubicBezTo>
                  <a:cubicBezTo>
                    <a:pt x="449885" y="658911"/>
                    <a:pt x="512083" y="637223"/>
                    <a:pt x="561927" y="593931"/>
                  </a:cubicBezTo>
                  <a:lnTo>
                    <a:pt x="616791" y="687896"/>
                  </a:lnTo>
                  <a:cubicBezTo>
                    <a:pt x="596627" y="707993"/>
                    <a:pt x="565775" y="725367"/>
                    <a:pt x="524218" y="739950"/>
                  </a:cubicBezTo>
                  <a:cubicBezTo>
                    <a:pt x="472116" y="759114"/>
                    <a:pt x="414033" y="768725"/>
                    <a:pt x="350006" y="768725"/>
                  </a:cubicBezTo>
                  <a:cubicBezTo>
                    <a:pt x="257670" y="768725"/>
                    <a:pt x="179261" y="737416"/>
                    <a:pt x="114814" y="674780"/>
                  </a:cubicBezTo>
                  <a:cubicBezTo>
                    <a:pt x="43005" y="605828"/>
                    <a:pt x="7144" y="513055"/>
                    <a:pt x="7144" y="396469"/>
                  </a:cubicBezTo>
                  <a:cubicBezTo>
                    <a:pt x="7144" y="275368"/>
                    <a:pt x="43929" y="178241"/>
                    <a:pt x="117510" y="105118"/>
                  </a:cubicBezTo>
                  <a:cubicBezTo>
                    <a:pt x="183290" y="39786"/>
                    <a:pt x="261176" y="7144"/>
                    <a:pt x="351177" y="7144"/>
                  </a:cubicBezTo>
                  <a:cubicBezTo>
                    <a:pt x="455762" y="7144"/>
                    <a:pt x="537772" y="36614"/>
                    <a:pt x="597179" y="95574"/>
                  </a:cubicBezTo>
                  <a:cubicBezTo>
                    <a:pt x="654758" y="152238"/>
                    <a:pt x="683533" y="227457"/>
                    <a:pt x="683533" y="321107"/>
                  </a:cubicBezTo>
                  <a:cubicBezTo>
                    <a:pt x="683543" y="349910"/>
                    <a:pt x="680085" y="376438"/>
                    <a:pt x="673275" y="400641"/>
                  </a:cubicBezTo>
                  <a:close/>
                  <a:moveTo>
                    <a:pt x="357597" y="116938"/>
                  </a:moveTo>
                  <a:cubicBezTo>
                    <a:pt x="299514" y="116938"/>
                    <a:pt x="250822" y="135674"/>
                    <a:pt x="211512" y="173050"/>
                  </a:cubicBezTo>
                  <a:cubicBezTo>
                    <a:pt x="174003" y="208636"/>
                    <a:pt x="152695" y="252879"/>
                    <a:pt x="147704" y="305810"/>
                  </a:cubicBezTo>
                  <a:lnTo>
                    <a:pt x="554422" y="305810"/>
                  </a:lnTo>
                  <a:cubicBezTo>
                    <a:pt x="554422" y="253375"/>
                    <a:pt x="537953" y="209588"/>
                    <a:pt x="505054" y="174450"/>
                  </a:cubicBezTo>
                  <a:cubicBezTo>
                    <a:pt x="468935" y="136103"/>
                    <a:pt x="419738" y="116938"/>
                    <a:pt x="357597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" name="Forme libre : forme 87">
              <a:extLst>
                <a:ext uri="{FF2B5EF4-FFF2-40B4-BE49-F238E27FC236}">
                  <a16:creationId xmlns:a16="http://schemas.microsoft.com/office/drawing/2014/main" id="{A05312BB-6D00-4A33-8DCC-A0CFD12D9B7A}"/>
                </a:ext>
              </a:extLst>
            </p:cNvPr>
            <p:cNvSpPr/>
            <p:nvPr/>
          </p:nvSpPr>
          <p:spPr>
            <a:xfrm>
              <a:off x="3259963" y="1950365"/>
              <a:ext cx="266700" cy="1057275"/>
            </a:xfrm>
            <a:custGeom>
              <a:avLst/>
              <a:gdLst>
                <a:gd name="connsiteX0" fmla="*/ 7144 w 266700"/>
                <a:gd name="connsiteY0" fmla="*/ 833847 h 1057275"/>
                <a:gd name="connsiteX1" fmla="*/ 7144 w 266700"/>
                <a:gd name="connsiteY1" fmla="*/ 7144 h 1057275"/>
                <a:gd name="connsiteX2" fmla="*/ 137160 w 266700"/>
                <a:gd name="connsiteY2" fmla="*/ 7144 h 1057275"/>
                <a:gd name="connsiteX3" fmla="*/ 137160 w 266700"/>
                <a:gd name="connsiteY3" fmla="*/ 811578 h 1057275"/>
                <a:gd name="connsiteX4" fmla="*/ 171136 w 266700"/>
                <a:gd name="connsiteY4" fmla="*/ 904389 h 1057275"/>
                <a:gd name="connsiteX5" fmla="*/ 260137 w 266700"/>
                <a:gd name="connsiteY5" fmla="*/ 938251 h 1057275"/>
                <a:gd name="connsiteX6" fmla="*/ 260137 w 266700"/>
                <a:gd name="connsiteY6" fmla="*/ 1055103 h 1057275"/>
                <a:gd name="connsiteX7" fmla="*/ 7144 w 266700"/>
                <a:gd name="connsiteY7" fmla="*/ 833847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700" h="1057275">
                  <a:moveTo>
                    <a:pt x="7144" y="833847"/>
                  </a:moveTo>
                  <a:lnTo>
                    <a:pt x="7144" y="7144"/>
                  </a:lnTo>
                  <a:lnTo>
                    <a:pt x="137160" y="7144"/>
                  </a:lnTo>
                  <a:lnTo>
                    <a:pt x="137160" y="811578"/>
                  </a:lnTo>
                  <a:cubicBezTo>
                    <a:pt x="137160" y="850868"/>
                    <a:pt x="148523" y="881767"/>
                    <a:pt x="171136" y="904389"/>
                  </a:cubicBezTo>
                  <a:cubicBezTo>
                    <a:pt x="193872" y="926954"/>
                    <a:pt x="223514" y="938251"/>
                    <a:pt x="260137" y="938251"/>
                  </a:cubicBezTo>
                  <a:lnTo>
                    <a:pt x="260137" y="1055103"/>
                  </a:lnTo>
                  <a:cubicBezTo>
                    <a:pt x="91469" y="1055103"/>
                    <a:pt x="7144" y="981370"/>
                    <a:pt x="7144" y="833847"/>
                  </a:cubicBezTo>
                  <a:close/>
                </a:path>
              </a:pathLst>
            </a:custGeom>
            <a:solidFill>
              <a:srgbClr val="00A3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" name="Forme libre : forme 88">
              <a:extLst>
                <a:ext uri="{FF2B5EF4-FFF2-40B4-BE49-F238E27FC236}">
                  <a16:creationId xmlns:a16="http://schemas.microsoft.com/office/drawing/2014/main" id="{D8C294E5-A588-4C96-BAA1-B184FBEDD217}"/>
                </a:ext>
              </a:extLst>
            </p:cNvPr>
            <p:cNvSpPr/>
            <p:nvPr/>
          </p:nvSpPr>
          <p:spPr>
            <a:xfrm>
              <a:off x="3615674" y="2236734"/>
              <a:ext cx="685800" cy="771525"/>
            </a:xfrm>
            <a:custGeom>
              <a:avLst/>
              <a:gdLst>
                <a:gd name="connsiteX0" fmla="*/ 673246 w 685800"/>
                <a:gd name="connsiteY0" fmla="*/ 400641 h 771525"/>
                <a:gd name="connsiteX1" fmla="*/ 144161 w 685800"/>
                <a:gd name="connsiteY1" fmla="*/ 400641 h 771525"/>
                <a:gd name="connsiteX2" fmla="*/ 214827 w 685800"/>
                <a:gd name="connsiteY2" fmla="*/ 598637 h 771525"/>
                <a:gd name="connsiteX3" fmla="*/ 375361 w 685800"/>
                <a:gd name="connsiteY3" fmla="*/ 658911 h 771525"/>
                <a:gd name="connsiteX4" fmla="*/ 561899 w 685800"/>
                <a:gd name="connsiteY4" fmla="*/ 593931 h 771525"/>
                <a:gd name="connsiteX5" fmla="*/ 616744 w 685800"/>
                <a:gd name="connsiteY5" fmla="*/ 687896 h 771525"/>
                <a:gd name="connsiteX6" fmla="*/ 524199 w 685800"/>
                <a:gd name="connsiteY6" fmla="*/ 739950 h 771525"/>
                <a:gd name="connsiteX7" fmla="*/ 350044 w 685800"/>
                <a:gd name="connsiteY7" fmla="*/ 768725 h 771525"/>
                <a:gd name="connsiteX8" fmla="*/ 114862 w 685800"/>
                <a:gd name="connsiteY8" fmla="*/ 674780 h 771525"/>
                <a:gd name="connsiteX9" fmla="*/ 7144 w 685800"/>
                <a:gd name="connsiteY9" fmla="*/ 396469 h 771525"/>
                <a:gd name="connsiteX10" fmla="*/ 117481 w 685800"/>
                <a:gd name="connsiteY10" fmla="*/ 105118 h 771525"/>
                <a:gd name="connsiteX11" fmla="*/ 351120 w 685800"/>
                <a:gd name="connsiteY11" fmla="*/ 7144 h 771525"/>
                <a:gd name="connsiteX12" fmla="*/ 597218 w 685800"/>
                <a:gd name="connsiteY12" fmla="*/ 95574 h 771525"/>
                <a:gd name="connsiteX13" fmla="*/ 683514 w 685800"/>
                <a:gd name="connsiteY13" fmla="*/ 321107 h 771525"/>
                <a:gd name="connsiteX14" fmla="*/ 673246 w 685800"/>
                <a:gd name="connsiteY14" fmla="*/ 400641 h 771525"/>
                <a:gd name="connsiteX15" fmla="*/ 357569 w 685800"/>
                <a:gd name="connsiteY15" fmla="*/ 116938 h 771525"/>
                <a:gd name="connsiteX16" fmla="*/ 211484 w 685800"/>
                <a:gd name="connsiteY16" fmla="*/ 173050 h 771525"/>
                <a:gd name="connsiteX17" fmla="*/ 147695 w 685800"/>
                <a:gd name="connsiteY17" fmla="*/ 305810 h 771525"/>
                <a:gd name="connsiteX18" fmla="*/ 554393 w 685800"/>
                <a:gd name="connsiteY18" fmla="*/ 305810 h 771525"/>
                <a:gd name="connsiteX19" fmla="*/ 505044 w 685800"/>
                <a:gd name="connsiteY19" fmla="*/ 174450 h 771525"/>
                <a:gd name="connsiteX20" fmla="*/ 35756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46" y="400641"/>
                  </a:moveTo>
                  <a:lnTo>
                    <a:pt x="144161" y="400641"/>
                  </a:lnTo>
                  <a:cubicBezTo>
                    <a:pt x="144161" y="486518"/>
                    <a:pt x="167716" y="552488"/>
                    <a:pt x="214827" y="598637"/>
                  </a:cubicBezTo>
                  <a:cubicBezTo>
                    <a:pt x="256442" y="638842"/>
                    <a:pt x="309982" y="658911"/>
                    <a:pt x="375361" y="658911"/>
                  </a:cubicBezTo>
                  <a:cubicBezTo>
                    <a:pt x="449847" y="658911"/>
                    <a:pt x="512055" y="637223"/>
                    <a:pt x="561899" y="593931"/>
                  </a:cubicBezTo>
                  <a:lnTo>
                    <a:pt x="616744" y="687896"/>
                  </a:lnTo>
                  <a:cubicBezTo>
                    <a:pt x="596656" y="707993"/>
                    <a:pt x="565804" y="725367"/>
                    <a:pt x="524199" y="739950"/>
                  </a:cubicBezTo>
                  <a:cubicBezTo>
                    <a:pt x="472078" y="759114"/>
                    <a:pt x="414071" y="768725"/>
                    <a:pt x="350044" y="768725"/>
                  </a:cubicBezTo>
                  <a:cubicBezTo>
                    <a:pt x="257718" y="768725"/>
                    <a:pt x="179299" y="737416"/>
                    <a:pt x="114862" y="674780"/>
                  </a:cubicBezTo>
                  <a:cubicBezTo>
                    <a:pt x="43043" y="605828"/>
                    <a:pt x="7144" y="513055"/>
                    <a:pt x="7144" y="396469"/>
                  </a:cubicBezTo>
                  <a:cubicBezTo>
                    <a:pt x="7144" y="275368"/>
                    <a:pt x="43910" y="178241"/>
                    <a:pt x="117481" y="105118"/>
                  </a:cubicBezTo>
                  <a:cubicBezTo>
                    <a:pt x="183261" y="39786"/>
                    <a:pt x="261147" y="7144"/>
                    <a:pt x="351120" y="7144"/>
                  </a:cubicBezTo>
                  <a:cubicBezTo>
                    <a:pt x="455790" y="7144"/>
                    <a:pt x="537791" y="36614"/>
                    <a:pt x="597218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24" y="349910"/>
                    <a:pt x="680104" y="376438"/>
                    <a:pt x="673246" y="400641"/>
                  </a:cubicBezTo>
                  <a:close/>
                  <a:moveTo>
                    <a:pt x="357569" y="116938"/>
                  </a:moveTo>
                  <a:cubicBezTo>
                    <a:pt x="299533" y="116938"/>
                    <a:pt x="250784" y="135674"/>
                    <a:pt x="211484" y="173050"/>
                  </a:cubicBezTo>
                  <a:cubicBezTo>
                    <a:pt x="173993" y="208636"/>
                    <a:pt x="152733" y="252879"/>
                    <a:pt x="147695" y="305810"/>
                  </a:cubicBezTo>
                  <a:lnTo>
                    <a:pt x="554393" y="305810"/>
                  </a:lnTo>
                  <a:cubicBezTo>
                    <a:pt x="554393" y="253375"/>
                    <a:pt x="537924" y="209588"/>
                    <a:pt x="505044" y="174450"/>
                  </a:cubicBezTo>
                  <a:cubicBezTo>
                    <a:pt x="468906" y="136103"/>
                    <a:pt x="419786" y="116938"/>
                    <a:pt x="35756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" name="Forme libre : forme 89">
              <a:extLst>
                <a:ext uri="{FF2B5EF4-FFF2-40B4-BE49-F238E27FC236}">
                  <a16:creationId xmlns:a16="http://schemas.microsoft.com/office/drawing/2014/main" id="{E0AC33C0-F4DB-4ACB-8C93-7639BB156C72}"/>
                </a:ext>
              </a:extLst>
            </p:cNvPr>
            <p:cNvSpPr/>
            <p:nvPr/>
          </p:nvSpPr>
          <p:spPr>
            <a:xfrm>
              <a:off x="4343860" y="2249040"/>
              <a:ext cx="676275" cy="762000"/>
            </a:xfrm>
            <a:custGeom>
              <a:avLst/>
              <a:gdLst>
                <a:gd name="connsiteX0" fmla="*/ 355873 w 676275"/>
                <a:gd name="connsiteY0" fmla="*/ 756428 h 762000"/>
                <a:gd name="connsiteX1" fmla="*/ 321631 w 676275"/>
                <a:gd name="connsiteY1" fmla="*/ 756428 h 762000"/>
                <a:gd name="connsiteX2" fmla="*/ 7144 w 676275"/>
                <a:gd name="connsiteY2" fmla="*/ 7144 h 762000"/>
                <a:gd name="connsiteX3" fmla="*/ 149447 w 676275"/>
                <a:gd name="connsiteY3" fmla="*/ 7144 h 762000"/>
                <a:gd name="connsiteX4" fmla="*/ 343586 w 676275"/>
                <a:gd name="connsiteY4" fmla="*/ 521017 h 762000"/>
                <a:gd name="connsiteX5" fmla="*/ 542115 w 676275"/>
                <a:gd name="connsiteY5" fmla="*/ 7144 h 762000"/>
                <a:gd name="connsiteX6" fmla="*/ 678266 w 676275"/>
                <a:gd name="connsiteY6" fmla="*/ 7144 h 762000"/>
                <a:gd name="connsiteX7" fmla="*/ 355873 w 676275"/>
                <a:gd name="connsiteY7" fmla="*/ 75642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275" h="762000">
                  <a:moveTo>
                    <a:pt x="355873" y="756428"/>
                  </a:moveTo>
                  <a:lnTo>
                    <a:pt x="321631" y="756428"/>
                  </a:lnTo>
                  <a:lnTo>
                    <a:pt x="7144" y="7144"/>
                  </a:lnTo>
                  <a:lnTo>
                    <a:pt x="149447" y="7144"/>
                  </a:lnTo>
                  <a:lnTo>
                    <a:pt x="343586" y="521017"/>
                  </a:lnTo>
                  <a:lnTo>
                    <a:pt x="542115" y="7144"/>
                  </a:lnTo>
                  <a:lnTo>
                    <a:pt x="678266" y="7144"/>
                  </a:lnTo>
                  <a:lnTo>
                    <a:pt x="355873" y="756428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" name="Forme libre : forme 90">
              <a:extLst>
                <a:ext uri="{FF2B5EF4-FFF2-40B4-BE49-F238E27FC236}">
                  <a16:creationId xmlns:a16="http://schemas.microsoft.com/office/drawing/2014/main" id="{514F0AD8-B1B4-4C2C-9407-C2CCF225A435}"/>
                </a:ext>
              </a:extLst>
            </p:cNvPr>
            <p:cNvSpPr/>
            <p:nvPr/>
          </p:nvSpPr>
          <p:spPr>
            <a:xfrm>
              <a:off x="5067808" y="2236734"/>
              <a:ext cx="685800" cy="771525"/>
            </a:xfrm>
            <a:custGeom>
              <a:avLst/>
              <a:gdLst>
                <a:gd name="connsiteX0" fmla="*/ 673227 w 685800"/>
                <a:gd name="connsiteY0" fmla="*/ 400641 h 771525"/>
                <a:gd name="connsiteX1" fmla="*/ 144151 w 685800"/>
                <a:gd name="connsiteY1" fmla="*/ 400641 h 771525"/>
                <a:gd name="connsiteX2" fmla="*/ 214827 w 685800"/>
                <a:gd name="connsiteY2" fmla="*/ 598637 h 771525"/>
                <a:gd name="connsiteX3" fmla="*/ 375295 w 685800"/>
                <a:gd name="connsiteY3" fmla="*/ 658911 h 771525"/>
                <a:gd name="connsiteX4" fmla="*/ 561832 w 685800"/>
                <a:gd name="connsiteY4" fmla="*/ 593931 h 771525"/>
                <a:gd name="connsiteX5" fmla="*/ 616791 w 685800"/>
                <a:gd name="connsiteY5" fmla="*/ 687896 h 771525"/>
                <a:gd name="connsiteX6" fmla="*/ 524208 w 685800"/>
                <a:gd name="connsiteY6" fmla="*/ 739950 h 771525"/>
                <a:gd name="connsiteX7" fmla="*/ 349996 w 685800"/>
                <a:gd name="connsiteY7" fmla="*/ 768725 h 771525"/>
                <a:gd name="connsiteX8" fmla="*/ 114805 w 685800"/>
                <a:gd name="connsiteY8" fmla="*/ 674780 h 771525"/>
                <a:gd name="connsiteX9" fmla="*/ 7144 w 685800"/>
                <a:gd name="connsiteY9" fmla="*/ 396469 h 771525"/>
                <a:gd name="connsiteX10" fmla="*/ 117491 w 685800"/>
                <a:gd name="connsiteY10" fmla="*/ 105118 h 771525"/>
                <a:gd name="connsiteX11" fmla="*/ 351158 w 685800"/>
                <a:gd name="connsiteY11" fmla="*/ 7144 h 771525"/>
                <a:gd name="connsiteX12" fmla="*/ 597180 w 685800"/>
                <a:gd name="connsiteY12" fmla="*/ 95574 h 771525"/>
                <a:gd name="connsiteX13" fmla="*/ 683514 w 685800"/>
                <a:gd name="connsiteY13" fmla="*/ 321107 h 771525"/>
                <a:gd name="connsiteX14" fmla="*/ 673227 w 685800"/>
                <a:gd name="connsiteY14" fmla="*/ 400641 h 771525"/>
                <a:gd name="connsiteX15" fmla="*/ 357559 w 685800"/>
                <a:gd name="connsiteY15" fmla="*/ 116938 h 771525"/>
                <a:gd name="connsiteX16" fmla="*/ 211474 w 685800"/>
                <a:gd name="connsiteY16" fmla="*/ 173050 h 771525"/>
                <a:gd name="connsiteX17" fmla="*/ 147695 w 685800"/>
                <a:gd name="connsiteY17" fmla="*/ 305810 h 771525"/>
                <a:gd name="connsiteX18" fmla="*/ 554364 w 685800"/>
                <a:gd name="connsiteY18" fmla="*/ 305810 h 771525"/>
                <a:gd name="connsiteX19" fmla="*/ 504968 w 685800"/>
                <a:gd name="connsiteY19" fmla="*/ 174450 h 771525"/>
                <a:gd name="connsiteX20" fmla="*/ 35755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27" y="400641"/>
                  </a:moveTo>
                  <a:lnTo>
                    <a:pt x="144151" y="400641"/>
                  </a:lnTo>
                  <a:cubicBezTo>
                    <a:pt x="144151" y="486518"/>
                    <a:pt x="167726" y="552488"/>
                    <a:pt x="214827" y="598637"/>
                  </a:cubicBezTo>
                  <a:cubicBezTo>
                    <a:pt x="256422" y="638842"/>
                    <a:pt x="309915" y="658911"/>
                    <a:pt x="375295" y="658911"/>
                  </a:cubicBezTo>
                  <a:cubicBezTo>
                    <a:pt x="449875" y="658911"/>
                    <a:pt x="512026" y="637223"/>
                    <a:pt x="561832" y="593931"/>
                  </a:cubicBezTo>
                  <a:lnTo>
                    <a:pt x="616791" y="687896"/>
                  </a:lnTo>
                  <a:cubicBezTo>
                    <a:pt x="596665" y="707993"/>
                    <a:pt x="565795" y="725367"/>
                    <a:pt x="524208" y="739950"/>
                  </a:cubicBezTo>
                  <a:cubicBezTo>
                    <a:pt x="472031" y="759114"/>
                    <a:pt x="414023" y="768725"/>
                    <a:pt x="349996" y="768725"/>
                  </a:cubicBezTo>
                  <a:cubicBezTo>
                    <a:pt x="257642" y="768725"/>
                    <a:pt x="179241" y="737416"/>
                    <a:pt x="114805" y="674780"/>
                  </a:cubicBezTo>
                  <a:cubicBezTo>
                    <a:pt x="43053" y="605828"/>
                    <a:pt x="7144" y="513055"/>
                    <a:pt x="7144" y="396469"/>
                  </a:cubicBezTo>
                  <a:cubicBezTo>
                    <a:pt x="7144" y="275368"/>
                    <a:pt x="43920" y="178241"/>
                    <a:pt x="117491" y="105118"/>
                  </a:cubicBezTo>
                  <a:cubicBezTo>
                    <a:pt x="183261" y="39786"/>
                    <a:pt x="261118" y="7144"/>
                    <a:pt x="351158" y="7144"/>
                  </a:cubicBezTo>
                  <a:cubicBezTo>
                    <a:pt x="455790" y="7144"/>
                    <a:pt x="537763" y="36614"/>
                    <a:pt x="597180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14" y="349910"/>
                    <a:pt x="680113" y="376438"/>
                    <a:pt x="673227" y="400641"/>
                  </a:cubicBezTo>
                  <a:close/>
                  <a:moveTo>
                    <a:pt x="357559" y="116938"/>
                  </a:moveTo>
                  <a:cubicBezTo>
                    <a:pt x="299495" y="116938"/>
                    <a:pt x="250774" y="135674"/>
                    <a:pt x="211474" y="173050"/>
                  </a:cubicBezTo>
                  <a:cubicBezTo>
                    <a:pt x="173984" y="208636"/>
                    <a:pt x="152733" y="252879"/>
                    <a:pt x="147695" y="305810"/>
                  </a:cubicBezTo>
                  <a:lnTo>
                    <a:pt x="554364" y="305810"/>
                  </a:lnTo>
                  <a:cubicBezTo>
                    <a:pt x="554364" y="253375"/>
                    <a:pt x="537915" y="209588"/>
                    <a:pt x="504968" y="174450"/>
                  </a:cubicBezTo>
                  <a:cubicBezTo>
                    <a:pt x="468849" y="136103"/>
                    <a:pt x="419710" y="116938"/>
                    <a:pt x="35755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" name="Forme libre : forme 91">
              <a:extLst>
                <a:ext uri="{FF2B5EF4-FFF2-40B4-BE49-F238E27FC236}">
                  <a16:creationId xmlns:a16="http://schemas.microsoft.com/office/drawing/2014/main" id="{12C0952D-99F4-482C-ACA6-6EC2658765FE}"/>
                </a:ext>
              </a:extLst>
            </p:cNvPr>
            <p:cNvSpPr/>
            <p:nvPr/>
          </p:nvSpPr>
          <p:spPr>
            <a:xfrm>
              <a:off x="5880319" y="2236743"/>
              <a:ext cx="590550" cy="752475"/>
            </a:xfrm>
            <a:custGeom>
              <a:avLst/>
              <a:gdLst>
                <a:gd name="connsiteX0" fmla="*/ 458667 w 590550"/>
                <a:gd name="connsiteY0" fmla="*/ 754666 h 752475"/>
                <a:gd name="connsiteX1" fmla="*/ 458667 w 590550"/>
                <a:gd name="connsiteY1" fmla="*/ 327908 h 752475"/>
                <a:gd name="connsiteX2" fmla="*/ 423386 w 590550"/>
                <a:gd name="connsiteY2" fmla="*/ 163859 h 752475"/>
                <a:gd name="connsiteX3" fmla="*/ 305105 w 590550"/>
                <a:gd name="connsiteY3" fmla="*/ 116919 h 752475"/>
                <a:gd name="connsiteX4" fmla="*/ 211874 w 590550"/>
                <a:gd name="connsiteY4" fmla="*/ 143675 h 752475"/>
                <a:gd name="connsiteX5" fmla="*/ 137170 w 590550"/>
                <a:gd name="connsiteY5" fmla="*/ 209417 h 752475"/>
                <a:gd name="connsiteX6" fmla="*/ 137170 w 590550"/>
                <a:gd name="connsiteY6" fmla="*/ 754656 h 752475"/>
                <a:gd name="connsiteX7" fmla="*/ 7144 w 590550"/>
                <a:gd name="connsiteY7" fmla="*/ 754656 h 752475"/>
                <a:gd name="connsiteX8" fmla="*/ 7144 w 590550"/>
                <a:gd name="connsiteY8" fmla="*/ 21193 h 752475"/>
                <a:gd name="connsiteX9" fmla="*/ 96231 w 590550"/>
                <a:gd name="connsiteY9" fmla="*/ 21193 h 752475"/>
                <a:gd name="connsiteX10" fmla="*/ 137284 w 590550"/>
                <a:gd name="connsiteY10" fmla="*/ 115719 h 752475"/>
                <a:gd name="connsiteX11" fmla="*/ 347529 w 590550"/>
                <a:gd name="connsiteY11" fmla="*/ 7144 h 752475"/>
                <a:gd name="connsiteX12" fmla="*/ 588673 w 590550"/>
                <a:gd name="connsiteY12" fmla="*/ 300352 h 752475"/>
                <a:gd name="connsiteX13" fmla="*/ 588673 w 590550"/>
                <a:gd name="connsiteY13" fmla="*/ 754666 h 752475"/>
                <a:gd name="connsiteX14" fmla="*/ 458667 w 590550"/>
                <a:gd name="connsiteY14" fmla="*/ 754666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90550" h="752475">
                  <a:moveTo>
                    <a:pt x="458667" y="754666"/>
                  </a:moveTo>
                  <a:lnTo>
                    <a:pt x="458667" y="327908"/>
                  </a:lnTo>
                  <a:cubicBezTo>
                    <a:pt x="458667" y="249831"/>
                    <a:pt x="446922" y="195148"/>
                    <a:pt x="423386" y="163859"/>
                  </a:cubicBezTo>
                  <a:cubicBezTo>
                    <a:pt x="399812" y="132559"/>
                    <a:pt x="360378" y="116919"/>
                    <a:pt x="305105" y="116919"/>
                  </a:cubicBezTo>
                  <a:cubicBezTo>
                    <a:pt x="275415" y="116919"/>
                    <a:pt x="244335" y="125835"/>
                    <a:pt x="211874" y="143675"/>
                  </a:cubicBezTo>
                  <a:cubicBezTo>
                    <a:pt x="179432" y="161439"/>
                    <a:pt x="154496" y="183413"/>
                    <a:pt x="137170" y="209417"/>
                  </a:cubicBezTo>
                  <a:lnTo>
                    <a:pt x="137170" y="754656"/>
                  </a:lnTo>
                  <a:lnTo>
                    <a:pt x="7144" y="754656"/>
                  </a:lnTo>
                  <a:lnTo>
                    <a:pt x="7144" y="21193"/>
                  </a:lnTo>
                  <a:lnTo>
                    <a:pt x="96231" y="21193"/>
                  </a:lnTo>
                  <a:lnTo>
                    <a:pt x="137284" y="115719"/>
                  </a:lnTo>
                  <a:cubicBezTo>
                    <a:pt x="180222" y="43282"/>
                    <a:pt x="250317" y="7144"/>
                    <a:pt x="347529" y="7144"/>
                  </a:cubicBezTo>
                  <a:cubicBezTo>
                    <a:pt x="508302" y="7144"/>
                    <a:pt x="588673" y="104918"/>
                    <a:pt x="588673" y="300352"/>
                  </a:cubicBezTo>
                  <a:lnTo>
                    <a:pt x="588673" y="754666"/>
                  </a:lnTo>
                  <a:lnTo>
                    <a:pt x="458667" y="754666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3" name="Forme libre : forme 92">
              <a:extLst>
                <a:ext uri="{FF2B5EF4-FFF2-40B4-BE49-F238E27FC236}">
                  <a16:creationId xmlns:a16="http://schemas.microsoft.com/office/drawing/2014/main" id="{A516946E-2603-401C-8B73-70E873D19B86}"/>
                </a:ext>
              </a:extLst>
            </p:cNvPr>
            <p:cNvSpPr/>
            <p:nvPr/>
          </p:nvSpPr>
          <p:spPr>
            <a:xfrm>
              <a:off x="2436869" y="3603895"/>
              <a:ext cx="114300" cy="190500"/>
            </a:xfrm>
            <a:custGeom>
              <a:avLst/>
              <a:gdLst>
                <a:gd name="connsiteX0" fmla="*/ 7144 w 114300"/>
                <a:gd name="connsiteY0" fmla="*/ 184299 h 190500"/>
                <a:gd name="connsiteX1" fmla="*/ 7144 w 114300"/>
                <a:gd name="connsiteY1" fmla="*/ 7144 h 190500"/>
                <a:gd name="connsiteX2" fmla="*/ 31556 w 114300"/>
                <a:gd name="connsiteY2" fmla="*/ 7144 h 190500"/>
                <a:gd name="connsiteX3" fmla="*/ 31556 w 114300"/>
                <a:gd name="connsiteY3" fmla="*/ 162525 h 190500"/>
                <a:gd name="connsiteX4" fmla="*/ 112376 w 114300"/>
                <a:gd name="connsiteY4" fmla="*/ 162525 h 190500"/>
                <a:gd name="connsiteX5" fmla="*/ 112376 w 114300"/>
                <a:gd name="connsiteY5" fmla="*/ 184290 h 190500"/>
                <a:gd name="connsiteX6" fmla="*/ 7144 w 114300"/>
                <a:gd name="connsiteY6" fmla="*/ 18429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190500">
                  <a:moveTo>
                    <a:pt x="7144" y="184299"/>
                  </a:moveTo>
                  <a:lnTo>
                    <a:pt x="7144" y="7144"/>
                  </a:lnTo>
                  <a:lnTo>
                    <a:pt x="31556" y="7144"/>
                  </a:lnTo>
                  <a:lnTo>
                    <a:pt x="31556" y="162525"/>
                  </a:lnTo>
                  <a:lnTo>
                    <a:pt x="112376" y="162525"/>
                  </a:lnTo>
                  <a:lnTo>
                    <a:pt x="112376" y="184290"/>
                  </a:lnTo>
                  <a:lnTo>
                    <a:pt x="7144" y="18429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4" name="Forme libre : forme 93">
              <a:extLst>
                <a:ext uri="{FF2B5EF4-FFF2-40B4-BE49-F238E27FC236}">
                  <a16:creationId xmlns:a16="http://schemas.microsoft.com/office/drawing/2014/main" id="{FFC47E35-3B12-42EE-9400-EFD02A9433AA}"/>
                </a:ext>
              </a:extLst>
            </p:cNvPr>
            <p:cNvSpPr/>
            <p:nvPr/>
          </p:nvSpPr>
          <p:spPr>
            <a:xfrm>
              <a:off x="2620597" y="3649120"/>
              <a:ext cx="123825" cy="142875"/>
            </a:xfrm>
            <a:custGeom>
              <a:avLst/>
              <a:gdLst>
                <a:gd name="connsiteX0" fmla="*/ 7144 w 123825"/>
                <a:gd name="connsiteY0" fmla="*/ 74019 h 142875"/>
                <a:gd name="connsiteX1" fmla="*/ 23441 w 123825"/>
                <a:gd name="connsiteY1" fmla="*/ 25584 h 142875"/>
                <a:gd name="connsiteX2" fmla="*/ 66351 w 123825"/>
                <a:gd name="connsiteY2" fmla="*/ 7144 h 142875"/>
                <a:gd name="connsiteX3" fmla="*/ 109938 w 123825"/>
                <a:gd name="connsiteY3" fmla="*/ 24851 h 142875"/>
                <a:gd name="connsiteX4" fmla="*/ 125444 w 123825"/>
                <a:gd name="connsiteY4" fmla="*/ 74009 h 142875"/>
                <a:gd name="connsiteX5" fmla="*/ 109576 w 123825"/>
                <a:gd name="connsiteY5" fmla="*/ 123415 h 142875"/>
                <a:gd name="connsiteX6" fmla="*/ 66361 w 123825"/>
                <a:gd name="connsiteY6" fmla="*/ 141484 h 142875"/>
                <a:gd name="connsiteX7" fmla="*/ 22774 w 123825"/>
                <a:gd name="connsiteY7" fmla="*/ 123225 h 142875"/>
                <a:gd name="connsiteX8" fmla="*/ 7144 w 123825"/>
                <a:gd name="connsiteY8" fmla="*/ 74019 h 142875"/>
                <a:gd name="connsiteX9" fmla="*/ 31566 w 123825"/>
                <a:gd name="connsiteY9" fmla="*/ 74019 h 142875"/>
                <a:gd name="connsiteX10" fmla="*/ 66361 w 123825"/>
                <a:gd name="connsiteY10" fmla="*/ 122749 h 142875"/>
                <a:gd name="connsiteX11" fmla="*/ 91811 w 123825"/>
                <a:gd name="connsiteY11" fmla="*/ 109690 h 142875"/>
                <a:gd name="connsiteX12" fmla="*/ 101032 w 123825"/>
                <a:gd name="connsiteY12" fmla="*/ 74019 h 142875"/>
                <a:gd name="connsiteX13" fmla="*/ 66361 w 123825"/>
                <a:gd name="connsiteY13" fmla="*/ 25889 h 142875"/>
                <a:gd name="connsiteX14" fmla="*/ 41024 w 123825"/>
                <a:gd name="connsiteY14" fmla="*/ 38710 h 142875"/>
                <a:gd name="connsiteX15" fmla="*/ 31566 w 123825"/>
                <a:gd name="connsiteY15" fmla="*/ 74019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7144" y="74019"/>
                  </a:moveTo>
                  <a:cubicBezTo>
                    <a:pt x="7144" y="54026"/>
                    <a:pt x="12573" y="37881"/>
                    <a:pt x="23441" y="25584"/>
                  </a:cubicBezTo>
                  <a:cubicBezTo>
                    <a:pt x="34309" y="13297"/>
                    <a:pt x="48606" y="7144"/>
                    <a:pt x="66351" y="7144"/>
                  </a:cubicBezTo>
                  <a:cubicBezTo>
                    <a:pt x="85068" y="7144"/>
                    <a:pt x="99603" y="13049"/>
                    <a:pt x="109938" y="24851"/>
                  </a:cubicBezTo>
                  <a:cubicBezTo>
                    <a:pt x="120272" y="36662"/>
                    <a:pt x="125444" y="53054"/>
                    <a:pt x="125444" y="74009"/>
                  </a:cubicBezTo>
                  <a:cubicBezTo>
                    <a:pt x="125444" y="94888"/>
                    <a:pt x="120148" y="111357"/>
                    <a:pt x="109576" y="123415"/>
                  </a:cubicBezTo>
                  <a:cubicBezTo>
                    <a:pt x="98993" y="135465"/>
                    <a:pt x="84592" y="141484"/>
                    <a:pt x="66361" y="141484"/>
                  </a:cubicBezTo>
                  <a:cubicBezTo>
                    <a:pt x="47720" y="141484"/>
                    <a:pt x="33195" y="135388"/>
                    <a:pt x="22774" y="123225"/>
                  </a:cubicBezTo>
                  <a:cubicBezTo>
                    <a:pt x="12354" y="111061"/>
                    <a:pt x="7144" y="94659"/>
                    <a:pt x="7144" y="74019"/>
                  </a:cubicBezTo>
                  <a:close/>
                  <a:moveTo>
                    <a:pt x="31566" y="74019"/>
                  </a:moveTo>
                  <a:cubicBezTo>
                    <a:pt x="31566" y="106508"/>
                    <a:pt x="43167" y="122749"/>
                    <a:pt x="66361" y="122749"/>
                  </a:cubicBezTo>
                  <a:cubicBezTo>
                    <a:pt x="77181" y="122749"/>
                    <a:pt x="85668" y="118396"/>
                    <a:pt x="91811" y="109690"/>
                  </a:cubicBezTo>
                  <a:cubicBezTo>
                    <a:pt x="97955" y="100984"/>
                    <a:pt x="101032" y="89097"/>
                    <a:pt x="101032" y="74019"/>
                  </a:cubicBezTo>
                  <a:cubicBezTo>
                    <a:pt x="101032" y="41939"/>
                    <a:pt x="89478" y="25889"/>
                    <a:pt x="66361" y="25889"/>
                  </a:cubicBezTo>
                  <a:cubicBezTo>
                    <a:pt x="55778" y="25889"/>
                    <a:pt x="47339" y="30156"/>
                    <a:pt x="41024" y="38710"/>
                  </a:cubicBezTo>
                  <a:cubicBezTo>
                    <a:pt x="34709" y="47263"/>
                    <a:pt x="31566" y="59017"/>
                    <a:pt x="31566" y="74019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5" name="Forme libre : forme 94">
              <a:extLst>
                <a:ext uri="{FF2B5EF4-FFF2-40B4-BE49-F238E27FC236}">
                  <a16:creationId xmlns:a16="http://schemas.microsoft.com/office/drawing/2014/main" id="{A3CBEA83-BE2F-4A88-94E7-8737934851A9}"/>
                </a:ext>
              </a:extLst>
            </p:cNvPr>
            <p:cNvSpPr/>
            <p:nvPr/>
          </p:nvSpPr>
          <p:spPr>
            <a:xfrm>
              <a:off x="2830823" y="3649120"/>
              <a:ext cx="114300" cy="142875"/>
            </a:xfrm>
            <a:custGeom>
              <a:avLst/>
              <a:gdLst>
                <a:gd name="connsiteX0" fmla="*/ 87592 w 114300"/>
                <a:gd name="connsiteY0" fmla="*/ 139075 h 142875"/>
                <a:gd name="connsiteX1" fmla="*/ 87592 w 114300"/>
                <a:gd name="connsiteY1" fmla="*/ 63741 h 142875"/>
                <a:gd name="connsiteX2" fmla="*/ 81305 w 114300"/>
                <a:gd name="connsiteY2" fmla="*/ 34776 h 142875"/>
                <a:gd name="connsiteX3" fmla="*/ 60246 w 114300"/>
                <a:gd name="connsiteY3" fmla="*/ 26499 h 142875"/>
                <a:gd name="connsiteX4" fmla="*/ 43644 w 114300"/>
                <a:gd name="connsiteY4" fmla="*/ 31213 h 142875"/>
                <a:gd name="connsiteX5" fmla="*/ 30337 w 114300"/>
                <a:gd name="connsiteY5" fmla="*/ 42824 h 142875"/>
                <a:gd name="connsiteX6" fmla="*/ 30337 w 114300"/>
                <a:gd name="connsiteY6" fmla="*/ 139075 h 142875"/>
                <a:gd name="connsiteX7" fmla="*/ 7144 w 114300"/>
                <a:gd name="connsiteY7" fmla="*/ 139075 h 142875"/>
                <a:gd name="connsiteX8" fmla="*/ 7144 w 114300"/>
                <a:gd name="connsiteY8" fmla="*/ 9563 h 142875"/>
                <a:gd name="connsiteX9" fmla="*/ 23012 w 114300"/>
                <a:gd name="connsiteY9" fmla="*/ 9563 h 142875"/>
                <a:gd name="connsiteX10" fmla="*/ 30337 w 114300"/>
                <a:gd name="connsiteY10" fmla="*/ 26251 h 142875"/>
                <a:gd name="connsiteX11" fmla="*/ 67818 w 114300"/>
                <a:gd name="connsiteY11" fmla="*/ 7144 h 142875"/>
                <a:gd name="connsiteX12" fmla="*/ 110795 w 114300"/>
                <a:gd name="connsiteY12" fmla="*/ 58903 h 142875"/>
                <a:gd name="connsiteX13" fmla="*/ 110795 w 114300"/>
                <a:gd name="connsiteY13" fmla="*/ 139075 h 142875"/>
                <a:gd name="connsiteX14" fmla="*/ 87592 w 114300"/>
                <a:gd name="connsiteY14" fmla="*/ 1390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300" h="142875">
                  <a:moveTo>
                    <a:pt x="87592" y="139075"/>
                  </a:moveTo>
                  <a:lnTo>
                    <a:pt x="87592" y="63741"/>
                  </a:lnTo>
                  <a:cubicBezTo>
                    <a:pt x="87592" y="49959"/>
                    <a:pt x="85496" y="40300"/>
                    <a:pt x="81305" y="34776"/>
                  </a:cubicBezTo>
                  <a:cubicBezTo>
                    <a:pt x="77114" y="29261"/>
                    <a:pt x="70094" y="26499"/>
                    <a:pt x="60246" y="26499"/>
                  </a:cubicBezTo>
                  <a:cubicBezTo>
                    <a:pt x="54950" y="26499"/>
                    <a:pt x="49425" y="28070"/>
                    <a:pt x="43644" y="31213"/>
                  </a:cubicBezTo>
                  <a:cubicBezTo>
                    <a:pt x="37862" y="34357"/>
                    <a:pt x="33433" y="38224"/>
                    <a:pt x="30337" y="42824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23012" y="9563"/>
                  </a:lnTo>
                  <a:lnTo>
                    <a:pt x="30337" y="26251"/>
                  </a:lnTo>
                  <a:cubicBezTo>
                    <a:pt x="37986" y="13506"/>
                    <a:pt x="50482" y="7144"/>
                    <a:pt x="67818" y="7144"/>
                  </a:cubicBezTo>
                  <a:cubicBezTo>
                    <a:pt x="96469" y="7144"/>
                    <a:pt x="110795" y="24393"/>
                    <a:pt x="110795" y="58903"/>
                  </a:cubicBezTo>
                  <a:lnTo>
                    <a:pt x="110795" y="139075"/>
                  </a:lnTo>
                  <a:lnTo>
                    <a:pt x="87592" y="139075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6" name="Forme libre : forme 95">
              <a:extLst>
                <a:ext uri="{FF2B5EF4-FFF2-40B4-BE49-F238E27FC236}">
                  <a16:creationId xmlns:a16="http://schemas.microsoft.com/office/drawing/2014/main" id="{8E1FCF69-EBCE-4857-B83A-5AEC00B57F02}"/>
                </a:ext>
              </a:extLst>
            </p:cNvPr>
            <p:cNvSpPr/>
            <p:nvPr/>
          </p:nvSpPr>
          <p:spPr>
            <a:xfrm>
              <a:off x="3027619" y="3598447"/>
              <a:ext cx="123825" cy="190500"/>
            </a:xfrm>
            <a:custGeom>
              <a:avLst/>
              <a:gdLst>
                <a:gd name="connsiteX0" fmla="*/ 97355 w 123825"/>
                <a:gd name="connsiteY0" fmla="*/ 189624 h 190500"/>
                <a:gd name="connsiteX1" fmla="*/ 97355 w 123825"/>
                <a:gd name="connsiteY1" fmla="*/ 180070 h 190500"/>
                <a:gd name="connsiteX2" fmla="*/ 62198 w 123825"/>
                <a:gd name="connsiteY2" fmla="*/ 192043 h 190500"/>
                <a:gd name="connsiteX3" fmla="*/ 22403 w 123825"/>
                <a:gd name="connsiteY3" fmla="*/ 174631 h 190500"/>
                <a:gd name="connsiteX4" fmla="*/ 7144 w 123825"/>
                <a:gd name="connsiteY4" fmla="*/ 128197 h 190500"/>
                <a:gd name="connsiteX5" fmla="*/ 24727 w 123825"/>
                <a:gd name="connsiteY5" fmla="*/ 78429 h 190500"/>
                <a:gd name="connsiteX6" fmla="*/ 66599 w 123825"/>
                <a:gd name="connsiteY6" fmla="*/ 57817 h 190500"/>
                <a:gd name="connsiteX7" fmla="*/ 97365 w 123825"/>
                <a:gd name="connsiteY7" fmla="*/ 67246 h 190500"/>
                <a:gd name="connsiteX8" fmla="*/ 97365 w 123825"/>
                <a:gd name="connsiteY8" fmla="*/ 7144 h 190500"/>
                <a:gd name="connsiteX9" fmla="*/ 120558 w 123825"/>
                <a:gd name="connsiteY9" fmla="*/ 7144 h 190500"/>
                <a:gd name="connsiteX10" fmla="*/ 120558 w 123825"/>
                <a:gd name="connsiteY10" fmla="*/ 189614 h 190500"/>
                <a:gd name="connsiteX11" fmla="*/ 97355 w 123825"/>
                <a:gd name="connsiteY11" fmla="*/ 189614 h 190500"/>
                <a:gd name="connsiteX12" fmla="*/ 97355 w 123825"/>
                <a:gd name="connsiteY12" fmla="*/ 90230 h 190500"/>
                <a:gd name="connsiteX13" fmla="*/ 73304 w 123825"/>
                <a:gd name="connsiteY13" fmla="*/ 77172 h 190500"/>
                <a:gd name="connsiteX14" fmla="*/ 43091 w 123825"/>
                <a:gd name="connsiteY14" fmla="*/ 90954 h 190500"/>
                <a:gd name="connsiteX15" fmla="*/ 31556 w 123825"/>
                <a:gd name="connsiteY15" fmla="*/ 126025 h 190500"/>
                <a:gd name="connsiteX16" fmla="*/ 74533 w 123825"/>
                <a:gd name="connsiteY16" fmla="*/ 172822 h 190500"/>
                <a:gd name="connsiteX17" fmla="*/ 87716 w 123825"/>
                <a:gd name="connsiteY17" fmla="*/ 169374 h 190500"/>
                <a:gd name="connsiteX18" fmla="*/ 97365 w 123825"/>
                <a:gd name="connsiteY18" fmla="*/ 162058 h 190500"/>
                <a:gd name="connsiteX19" fmla="*/ 97365 w 123825"/>
                <a:gd name="connsiteY19" fmla="*/ 9023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825" h="190500">
                  <a:moveTo>
                    <a:pt x="97355" y="189624"/>
                  </a:moveTo>
                  <a:lnTo>
                    <a:pt x="97355" y="180070"/>
                  </a:lnTo>
                  <a:cubicBezTo>
                    <a:pt x="89297" y="188052"/>
                    <a:pt x="77581" y="192043"/>
                    <a:pt x="62198" y="192043"/>
                  </a:cubicBezTo>
                  <a:cubicBezTo>
                    <a:pt x="45844" y="192043"/>
                    <a:pt x="32575" y="186242"/>
                    <a:pt x="22403" y="174631"/>
                  </a:cubicBezTo>
                  <a:cubicBezTo>
                    <a:pt x="12230" y="163020"/>
                    <a:pt x="7144" y="147542"/>
                    <a:pt x="7144" y="128197"/>
                  </a:cubicBezTo>
                  <a:cubicBezTo>
                    <a:pt x="7144" y="108775"/>
                    <a:pt x="13002" y="92183"/>
                    <a:pt x="24727" y="78429"/>
                  </a:cubicBezTo>
                  <a:cubicBezTo>
                    <a:pt x="36443" y="64694"/>
                    <a:pt x="50406" y="57817"/>
                    <a:pt x="66599" y="57817"/>
                  </a:cubicBezTo>
                  <a:cubicBezTo>
                    <a:pt x="80105" y="57817"/>
                    <a:pt x="90364" y="60960"/>
                    <a:pt x="97365" y="67246"/>
                  </a:cubicBezTo>
                  <a:lnTo>
                    <a:pt x="97365" y="7144"/>
                  </a:lnTo>
                  <a:lnTo>
                    <a:pt x="120558" y="7144"/>
                  </a:lnTo>
                  <a:lnTo>
                    <a:pt x="120558" y="189614"/>
                  </a:lnTo>
                  <a:lnTo>
                    <a:pt x="97355" y="189614"/>
                  </a:lnTo>
                  <a:close/>
                  <a:moveTo>
                    <a:pt x="97355" y="90230"/>
                  </a:moveTo>
                  <a:cubicBezTo>
                    <a:pt x="91497" y="81525"/>
                    <a:pt x="83477" y="77172"/>
                    <a:pt x="73304" y="77172"/>
                  </a:cubicBezTo>
                  <a:cubicBezTo>
                    <a:pt x="60855" y="77172"/>
                    <a:pt x="50778" y="81763"/>
                    <a:pt x="43091" y="90954"/>
                  </a:cubicBezTo>
                  <a:cubicBezTo>
                    <a:pt x="35404" y="100146"/>
                    <a:pt x="31556" y="111824"/>
                    <a:pt x="31556" y="126025"/>
                  </a:cubicBezTo>
                  <a:cubicBezTo>
                    <a:pt x="31556" y="157220"/>
                    <a:pt x="45882" y="172822"/>
                    <a:pt x="74533" y="172822"/>
                  </a:cubicBezTo>
                  <a:cubicBezTo>
                    <a:pt x="78200" y="172822"/>
                    <a:pt x="82591" y="171679"/>
                    <a:pt x="87716" y="169374"/>
                  </a:cubicBezTo>
                  <a:cubicBezTo>
                    <a:pt x="92840" y="167088"/>
                    <a:pt x="96060" y="164649"/>
                    <a:pt x="97365" y="162058"/>
                  </a:cubicBezTo>
                  <a:lnTo>
                    <a:pt x="97365" y="9023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7" name="Forme libre : forme 96">
              <a:extLst>
                <a:ext uri="{FF2B5EF4-FFF2-40B4-BE49-F238E27FC236}">
                  <a16:creationId xmlns:a16="http://schemas.microsoft.com/office/drawing/2014/main" id="{1060C7BC-EA2E-4237-A593-09DE893A3112}"/>
                </a:ext>
              </a:extLst>
            </p:cNvPr>
            <p:cNvSpPr/>
            <p:nvPr/>
          </p:nvSpPr>
          <p:spPr>
            <a:xfrm>
              <a:off x="3233188" y="3649120"/>
              <a:ext cx="123825" cy="142875"/>
            </a:xfrm>
            <a:custGeom>
              <a:avLst/>
              <a:gdLst>
                <a:gd name="connsiteX0" fmla="*/ 7144 w 123825"/>
                <a:gd name="connsiteY0" fmla="*/ 74019 h 142875"/>
                <a:gd name="connsiteX1" fmla="*/ 23441 w 123825"/>
                <a:gd name="connsiteY1" fmla="*/ 25584 h 142875"/>
                <a:gd name="connsiteX2" fmla="*/ 66351 w 123825"/>
                <a:gd name="connsiteY2" fmla="*/ 7144 h 142875"/>
                <a:gd name="connsiteX3" fmla="*/ 109938 w 123825"/>
                <a:gd name="connsiteY3" fmla="*/ 24851 h 142875"/>
                <a:gd name="connsiteX4" fmla="*/ 125444 w 123825"/>
                <a:gd name="connsiteY4" fmla="*/ 74009 h 142875"/>
                <a:gd name="connsiteX5" fmla="*/ 109576 w 123825"/>
                <a:gd name="connsiteY5" fmla="*/ 123415 h 142875"/>
                <a:gd name="connsiteX6" fmla="*/ 66361 w 123825"/>
                <a:gd name="connsiteY6" fmla="*/ 141484 h 142875"/>
                <a:gd name="connsiteX7" fmla="*/ 22774 w 123825"/>
                <a:gd name="connsiteY7" fmla="*/ 123225 h 142875"/>
                <a:gd name="connsiteX8" fmla="*/ 7144 w 123825"/>
                <a:gd name="connsiteY8" fmla="*/ 74019 h 142875"/>
                <a:gd name="connsiteX9" fmla="*/ 31566 w 123825"/>
                <a:gd name="connsiteY9" fmla="*/ 74019 h 142875"/>
                <a:gd name="connsiteX10" fmla="*/ 66361 w 123825"/>
                <a:gd name="connsiteY10" fmla="*/ 122749 h 142875"/>
                <a:gd name="connsiteX11" fmla="*/ 91811 w 123825"/>
                <a:gd name="connsiteY11" fmla="*/ 109690 h 142875"/>
                <a:gd name="connsiteX12" fmla="*/ 101032 w 123825"/>
                <a:gd name="connsiteY12" fmla="*/ 74019 h 142875"/>
                <a:gd name="connsiteX13" fmla="*/ 66361 w 123825"/>
                <a:gd name="connsiteY13" fmla="*/ 25889 h 142875"/>
                <a:gd name="connsiteX14" fmla="*/ 41024 w 123825"/>
                <a:gd name="connsiteY14" fmla="*/ 38710 h 142875"/>
                <a:gd name="connsiteX15" fmla="*/ 31566 w 123825"/>
                <a:gd name="connsiteY15" fmla="*/ 74019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825" h="142875">
                  <a:moveTo>
                    <a:pt x="7144" y="74019"/>
                  </a:moveTo>
                  <a:cubicBezTo>
                    <a:pt x="7144" y="54026"/>
                    <a:pt x="12573" y="37881"/>
                    <a:pt x="23441" y="25584"/>
                  </a:cubicBezTo>
                  <a:cubicBezTo>
                    <a:pt x="34309" y="13297"/>
                    <a:pt x="48606" y="7144"/>
                    <a:pt x="66351" y="7144"/>
                  </a:cubicBezTo>
                  <a:cubicBezTo>
                    <a:pt x="85068" y="7144"/>
                    <a:pt x="99603" y="13049"/>
                    <a:pt x="109938" y="24851"/>
                  </a:cubicBezTo>
                  <a:cubicBezTo>
                    <a:pt x="120272" y="36662"/>
                    <a:pt x="125444" y="53054"/>
                    <a:pt x="125444" y="74009"/>
                  </a:cubicBezTo>
                  <a:cubicBezTo>
                    <a:pt x="125444" y="94888"/>
                    <a:pt x="120148" y="111357"/>
                    <a:pt x="109576" y="123415"/>
                  </a:cubicBezTo>
                  <a:cubicBezTo>
                    <a:pt x="98993" y="135465"/>
                    <a:pt x="84591" y="141484"/>
                    <a:pt x="66361" y="141484"/>
                  </a:cubicBezTo>
                  <a:cubicBezTo>
                    <a:pt x="47720" y="141484"/>
                    <a:pt x="33195" y="135388"/>
                    <a:pt x="22774" y="123225"/>
                  </a:cubicBezTo>
                  <a:cubicBezTo>
                    <a:pt x="12354" y="111061"/>
                    <a:pt x="7144" y="94659"/>
                    <a:pt x="7144" y="74019"/>
                  </a:cubicBezTo>
                  <a:close/>
                  <a:moveTo>
                    <a:pt x="31566" y="74019"/>
                  </a:moveTo>
                  <a:cubicBezTo>
                    <a:pt x="31566" y="106508"/>
                    <a:pt x="43167" y="122749"/>
                    <a:pt x="66361" y="122749"/>
                  </a:cubicBezTo>
                  <a:cubicBezTo>
                    <a:pt x="77181" y="122749"/>
                    <a:pt x="85668" y="118396"/>
                    <a:pt x="91811" y="109690"/>
                  </a:cubicBezTo>
                  <a:cubicBezTo>
                    <a:pt x="97955" y="100984"/>
                    <a:pt x="101032" y="89097"/>
                    <a:pt x="101032" y="74019"/>
                  </a:cubicBezTo>
                  <a:cubicBezTo>
                    <a:pt x="101032" y="41939"/>
                    <a:pt x="89478" y="25889"/>
                    <a:pt x="66361" y="25889"/>
                  </a:cubicBezTo>
                  <a:cubicBezTo>
                    <a:pt x="55778" y="25889"/>
                    <a:pt x="47339" y="30156"/>
                    <a:pt x="41024" y="38710"/>
                  </a:cubicBezTo>
                  <a:cubicBezTo>
                    <a:pt x="34719" y="47254"/>
                    <a:pt x="31566" y="59017"/>
                    <a:pt x="31566" y="74019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8" name="Forme libre : forme 97">
              <a:extLst>
                <a:ext uri="{FF2B5EF4-FFF2-40B4-BE49-F238E27FC236}">
                  <a16:creationId xmlns:a16="http://schemas.microsoft.com/office/drawing/2014/main" id="{0BA543BB-A610-44E3-B159-3435A7FE8FA4}"/>
                </a:ext>
              </a:extLst>
            </p:cNvPr>
            <p:cNvSpPr/>
            <p:nvPr/>
          </p:nvSpPr>
          <p:spPr>
            <a:xfrm>
              <a:off x="3443414" y="3649120"/>
              <a:ext cx="114300" cy="142875"/>
            </a:xfrm>
            <a:custGeom>
              <a:avLst/>
              <a:gdLst>
                <a:gd name="connsiteX0" fmla="*/ 87592 w 114300"/>
                <a:gd name="connsiteY0" fmla="*/ 139075 h 142875"/>
                <a:gd name="connsiteX1" fmla="*/ 87592 w 114300"/>
                <a:gd name="connsiteY1" fmla="*/ 63741 h 142875"/>
                <a:gd name="connsiteX2" fmla="*/ 81305 w 114300"/>
                <a:gd name="connsiteY2" fmla="*/ 34776 h 142875"/>
                <a:gd name="connsiteX3" fmla="*/ 60246 w 114300"/>
                <a:gd name="connsiteY3" fmla="*/ 26499 h 142875"/>
                <a:gd name="connsiteX4" fmla="*/ 43644 w 114300"/>
                <a:gd name="connsiteY4" fmla="*/ 31213 h 142875"/>
                <a:gd name="connsiteX5" fmla="*/ 30337 w 114300"/>
                <a:gd name="connsiteY5" fmla="*/ 42824 h 142875"/>
                <a:gd name="connsiteX6" fmla="*/ 30337 w 114300"/>
                <a:gd name="connsiteY6" fmla="*/ 139075 h 142875"/>
                <a:gd name="connsiteX7" fmla="*/ 7144 w 114300"/>
                <a:gd name="connsiteY7" fmla="*/ 139075 h 142875"/>
                <a:gd name="connsiteX8" fmla="*/ 7144 w 114300"/>
                <a:gd name="connsiteY8" fmla="*/ 9563 h 142875"/>
                <a:gd name="connsiteX9" fmla="*/ 23012 w 114300"/>
                <a:gd name="connsiteY9" fmla="*/ 9563 h 142875"/>
                <a:gd name="connsiteX10" fmla="*/ 30337 w 114300"/>
                <a:gd name="connsiteY10" fmla="*/ 26251 h 142875"/>
                <a:gd name="connsiteX11" fmla="*/ 67818 w 114300"/>
                <a:gd name="connsiteY11" fmla="*/ 7144 h 142875"/>
                <a:gd name="connsiteX12" fmla="*/ 110795 w 114300"/>
                <a:gd name="connsiteY12" fmla="*/ 58903 h 142875"/>
                <a:gd name="connsiteX13" fmla="*/ 110795 w 114300"/>
                <a:gd name="connsiteY13" fmla="*/ 139075 h 142875"/>
                <a:gd name="connsiteX14" fmla="*/ 87592 w 114300"/>
                <a:gd name="connsiteY14" fmla="*/ 1390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300" h="142875">
                  <a:moveTo>
                    <a:pt x="87592" y="139075"/>
                  </a:moveTo>
                  <a:lnTo>
                    <a:pt x="87592" y="63741"/>
                  </a:lnTo>
                  <a:cubicBezTo>
                    <a:pt x="87592" y="49959"/>
                    <a:pt x="85496" y="40300"/>
                    <a:pt x="81305" y="34776"/>
                  </a:cubicBezTo>
                  <a:cubicBezTo>
                    <a:pt x="77114" y="29261"/>
                    <a:pt x="70094" y="26499"/>
                    <a:pt x="60246" y="26499"/>
                  </a:cubicBezTo>
                  <a:cubicBezTo>
                    <a:pt x="54950" y="26499"/>
                    <a:pt x="49425" y="28070"/>
                    <a:pt x="43644" y="31213"/>
                  </a:cubicBezTo>
                  <a:cubicBezTo>
                    <a:pt x="37862" y="34357"/>
                    <a:pt x="33433" y="38224"/>
                    <a:pt x="30337" y="42824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23012" y="9563"/>
                  </a:lnTo>
                  <a:lnTo>
                    <a:pt x="30337" y="26251"/>
                  </a:lnTo>
                  <a:cubicBezTo>
                    <a:pt x="37986" y="13506"/>
                    <a:pt x="50482" y="7144"/>
                    <a:pt x="67818" y="7144"/>
                  </a:cubicBezTo>
                  <a:cubicBezTo>
                    <a:pt x="96469" y="7144"/>
                    <a:pt x="110795" y="24393"/>
                    <a:pt x="110795" y="58903"/>
                  </a:cubicBezTo>
                  <a:lnTo>
                    <a:pt x="110795" y="139075"/>
                  </a:lnTo>
                  <a:lnTo>
                    <a:pt x="87592" y="139075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9" name="Forme libre : forme 98">
              <a:extLst>
                <a:ext uri="{FF2B5EF4-FFF2-40B4-BE49-F238E27FC236}">
                  <a16:creationId xmlns:a16="http://schemas.microsoft.com/office/drawing/2014/main" id="{49C9833A-F4C6-4E5A-A814-23E4F1973BA9}"/>
                </a:ext>
              </a:extLst>
            </p:cNvPr>
            <p:cNvSpPr/>
            <p:nvPr/>
          </p:nvSpPr>
          <p:spPr>
            <a:xfrm>
              <a:off x="3797639" y="3689420"/>
              <a:ext cx="66675" cy="66675"/>
            </a:xfrm>
            <a:custGeom>
              <a:avLst/>
              <a:gdLst>
                <a:gd name="connsiteX0" fmla="*/ 34280 w 66675"/>
                <a:gd name="connsiteY0" fmla="*/ 7144 h 66675"/>
                <a:gd name="connsiteX1" fmla="*/ 53483 w 66675"/>
                <a:gd name="connsiteY1" fmla="*/ 15002 h 66675"/>
                <a:gd name="connsiteX2" fmla="*/ 61417 w 66675"/>
                <a:gd name="connsiteY2" fmla="*/ 34023 h 66675"/>
                <a:gd name="connsiteX3" fmla="*/ 53483 w 66675"/>
                <a:gd name="connsiteY3" fmla="*/ 53045 h 66675"/>
                <a:gd name="connsiteX4" fmla="*/ 34280 w 66675"/>
                <a:gd name="connsiteY4" fmla="*/ 60903 h 66675"/>
                <a:gd name="connsiteX5" fmla="*/ 15078 w 66675"/>
                <a:gd name="connsiteY5" fmla="*/ 53045 h 66675"/>
                <a:gd name="connsiteX6" fmla="*/ 7144 w 66675"/>
                <a:gd name="connsiteY6" fmla="*/ 34023 h 66675"/>
                <a:gd name="connsiteX7" fmla="*/ 15078 w 66675"/>
                <a:gd name="connsiteY7" fmla="*/ 15002 h 66675"/>
                <a:gd name="connsiteX8" fmla="*/ 34280 w 66675"/>
                <a:gd name="connsiteY8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66675">
                  <a:moveTo>
                    <a:pt x="34280" y="7144"/>
                  </a:moveTo>
                  <a:cubicBezTo>
                    <a:pt x="41796" y="7144"/>
                    <a:pt x="48196" y="9763"/>
                    <a:pt x="53483" y="15002"/>
                  </a:cubicBezTo>
                  <a:cubicBezTo>
                    <a:pt x="58779" y="20241"/>
                    <a:pt x="61417" y="26584"/>
                    <a:pt x="61417" y="34023"/>
                  </a:cubicBezTo>
                  <a:cubicBezTo>
                    <a:pt x="61417" y="41462"/>
                    <a:pt x="58769" y="47806"/>
                    <a:pt x="53483" y="53045"/>
                  </a:cubicBezTo>
                  <a:cubicBezTo>
                    <a:pt x="48187" y="58284"/>
                    <a:pt x="41796" y="60903"/>
                    <a:pt x="34280" y="60903"/>
                  </a:cubicBezTo>
                  <a:cubicBezTo>
                    <a:pt x="26765" y="60903"/>
                    <a:pt x="20364" y="58284"/>
                    <a:pt x="15078" y="53045"/>
                  </a:cubicBezTo>
                  <a:cubicBezTo>
                    <a:pt x="9782" y="47806"/>
                    <a:pt x="7144" y="41462"/>
                    <a:pt x="7144" y="34023"/>
                  </a:cubicBezTo>
                  <a:cubicBezTo>
                    <a:pt x="7144" y="26584"/>
                    <a:pt x="9792" y="20241"/>
                    <a:pt x="15078" y="15002"/>
                  </a:cubicBezTo>
                  <a:cubicBezTo>
                    <a:pt x="20364" y="9763"/>
                    <a:pt x="26765" y="7144"/>
                    <a:pt x="34280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0" name="Forme libre : forme 99">
              <a:extLst>
                <a:ext uri="{FF2B5EF4-FFF2-40B4-BE49-F238E27FC236}">
                  <a16:creationId xmlns:a16="http://schemas.microsoft.com/office/drawing/2014/main" id="{83B03A28-0611-4D66-95A4-C7A81D300E58}"/>
                </a:ext>
              </a:extLst>
            </p:cNvPr>
            <p:cNvSpPr/>
            <p:nvPr/>
          </p:nvSpPr>
          <p:spPr>
            <a:xfrm>
              <a:off x="4087809" y="3602686"/>
              <a:ext cx="123825" cy="190500"/>
            </a:xfrm>
            <a:custGeom>
              <a:avLst/>
              <a:gdLst>
                <a:gd name="connsiteX0" fmla="*/ 31556 w 123825"/>
                <a:gd name="connsiteY0" fmla="*/ 117310 h 190500"/>
                <a:gd name="connsiteX1" fmla="*/ 31556 w 123825"/>
                <a:gd name="connsiteY1" fmla="*/ 185509 h 190500"/>
                <a:gd name="connsiteX2" fmla="*/ 7144 w 123825"/>
                <a:gd name="connsiteY2" fmla="*/ 185509 h 190500"/>
                <a:gd name="connsiteX3" fmla="*/ 7144 w 123825"/>
                <a:gd name="connsiteY3" fmla="*/ 8353 h 190500"/>
                <a:gd name="connsiteX4" fmla="*/ 40595 w 123825"/>
                <a:gd name="connsiteY4" fmla="*/ 7144 h 190500"/>
                <a:gd name="connsiteX5" fmla="*/ 118481 w 123825"/>
                <a:gd name="connsiteY5" fmla="*/ 58779 h 190500"/>
                <a:gd name="connsiteX6" fmla="*/ 49625 w 123825"/>
                <a:gd name="connsiteY6" fmla="*/ 118510 h 190500"/>
                <a:gd name="connsiteX7" fmla="*/ 31556 w 123825"/>
                <a:gd name="connsiteY7" fmla="*/ 117310 h 190500"/>
                <a:gd name="connsiteX8" fmla="*/ 31556 w 123825"/>
                <a:gd name="connsiteY8" fmla="*/ 30118 h 190500"/>
                <a:gd name="connsiteX9" fmla="*/ 31556 w 123825"/>
                <a:gd name="connsiteY9" fmla="*/ 95536 h 190500"/>
                <a:gd name="connsiteX10" fmla="*/ 47911 w 123825"/>
                <a:gd name="connsiteY10" fmla="*/ 96745 h 190500"/>
                <a:gd name="connsiteX11" fmla="*/ 93326 w 123825"/>
                <a:gd name="connsiteY11" fmla="*/ 61312 h 190500"/>
                <a:gd name="connsiteX12" fmla="*/ 44863 w 123825"/>
                <a:gd name="connsiteY12" fmla="*/ 28908 h 190500"/>
                <a:gd name="connsiteX13" fmla="*/ 31556 w 123825"/>
                <a:gd name="connsiteY13" fmla="*/ 3011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5" h="190500">
                  <a:moveTo>
                    <a:pt x="31556" y="117310"/>
                  </a:moveTo>
                  <a:lnTo>
                    <a:pt x="31556" y="185509"/>
                  </a:lnTo>
                  <a:lnTo>
                    <a:pt x="7144" y="185509"/>
                  </a:lnTo>
                  <a:lnTo>
                    <a:pt x="7144" y="8353"/>
                  </a:lnTo>
                  <a:cubicBezTo>
                    <a:pt x="25622" y="7553"/>
                    <a:pt x="36766" y="7144"/>
                    <a:pt x="40595" y="7144"/>
                  </a:cubicBezTo>
                  <a:cubicBezTo>
                    <a:pt x="92526" y="7144"/>
                    <a:pt x="118481" y="24355"/>
                    <a:pt x="118481" y="58779"/>
                  </a:cubicBezTo>
                  <a:cubicBezTo>
                    <a:pt x="118481" y="98603"/>
                    <a:pt x="95526" y="118510"/>
                    <a:pt x="49625" y="118510"/>
                  </a:cubicBezTo>
                  <a:cubicBezTo>
                    <a:pt x="46853" y="118520"/>
                    <a:pt x="40834" y="118120"/>
                    <a:pt x="31556" y="117310"/>
                  </a:cubicBezTo>
                  <a:close/>
                  <a:moveTo>
                    <a:pt x="31556" y="30118"/>
                  </a:moveTo>
                  <a:lnTo>
                    <a:pt x="31556" y="95536"/>
                  </a:lnTo>
                  <a:cubicBezTo>
                    <a:pt x="41891" y="96345"/>
                    <a:pt x="47349" y="96745"/>
                    <a:pt x="47911" y="96745"/>
                  </a:cubicBezTo>
                  <a:cubicBezTo>
                    <a:pt x="78191" y="96745"/>
                    <a:pt x="93326" y="84944"/>
                    <a:pt x="93326" y="61312"/>
                  </a:cubicBezTo>
                  <a:cubicBezTo>
                    <a:pt x="93326" y="39710"/>
                    <a:pt x="77171" y="28908"/>
                    <a:pt x="44863" y="28908"/>
                  </a:cubicBezTo>
                  <a:cubicBezTo>
                    <a:pt x="41605" y="28908"/>
                    <a:pt x="37166" y="29318"/>
                    <a:pt x="31556" y="30118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1" name="Forme libre : forme 100">
              <a:extLst>
                <a:ext uri="{FF2B5EF4-FFF2-40B4-BE49-F238E27FC236}">
                  <a16:creationId xmlns:a16="http://schemas.microsoft.com/office/drawing/2014/main" id="{C3D0899A-F391-45AD-8F04-EE970BF4D696}"/>
                </a:ext>
              </a:extLst>
            </p:cNvPr>
            <p:cNvSpPr/>
            <p:nvPr/>
          </p:nvSpPr>
          <p:spPr>
            <a:xfrm>
              <a:off x="4274451" y="3649110"/>
              <a:ext cx="123825" cy="142875"/>
            </a:xfrm>
            <a:custGeom>
              <a:avLst/>
              <a:gdLst>
                <a:gd name="connsiteX0" fmla="*/ 87725 w 123825"/>
                <a:gd name="connsiteY0" fmla="*/ 124206 h 142875"/>
                <a:gd name="connsiteX1" fmla="*/ 45120 w 123825"/>
                <a:gd name="connsiteY1" fmla="*/ 141494 h 142875"/>
                <a:gd name="connsiteX2" fmla="*/ 18440 w 123825"/>
                <a:gd name="connsiteY2" fmla="*/ 130435 h 142875"/>
                <a:gd name="connsiteX3" fmla="*/ 7144 w 123825"/>
                <a:gd name="connsiteY3" fmla="*/ 102918 h 142875"/>
                <a:gd name="connsiteX4" fmla="*/ 24536 w 123825"/>
                <a:gd name="connsiteY4" fmla="*/ 69599 h 142875"/>
                <a:gd name="connsiteX5" fmla="*/ 68913 w 123825"/>
                <a:gd name="connsiteY5" fmla="*/ 55997 h 142875"/>
                <a:gd name="connsiteX6" fmla="*/ 85516 w 123825"/>
                <a:gd name="connsiteY6" fmla="*/ 59141 h 142875"/>
                <a:gd name="connsiteX7" fmla="*/ 57188 w 123825"/>
                <a:gd name="connsiteY7" fmla="*/ 27699 h 142875"/>
                <a:gd name="connsiteX8" fmla="*/ 23736 w 123825"/>
                <a:gd name="connsiteY8" fmla="*/ 39310 h 142875"/>
                <a:gd name="connsiteX9" fmla="*/ 13973 w 123825"/>
                <a:gd name="connsiteY9" fmla="*/ 20079 h 142875"/>
                <a:gd name="connsiteX10" fmla="*/ 32223 w 123825"/>
                <a:gd name="connsiteY10" fmla="*/ 10954 h 142875"/>
                <a:gd name="connsiteX11" fmla="*/ 54502 w 123825"/>
                <a:gd name="connsiteY11" fmla="*/ 7144 h 142875"/>
                <a:gd name="connsiteX12" fmla="*/ 95822 w 123825"/>
                <a:gd name="connsiteY12" fmla="*/ 19964 h 142875"/>
                <a:gd name="connsiteX13" fmla="*/ 108709 w 123825"/>
                <a:gd name="connsiteY13" fmla="*/ 60712 h 142875"/>
                <a:gd name="connsiteX14" fmla="*/ 108709 w 123825"/>
                <a:gd name="connsiteY14" fmla="*/ 107147 h 142875"/>
                <a:gd name="connsiteX15" fmla="*/ 118967 w 123825"/>
                <a:gd name="connsiteY15" fmla="*/ 129883 h 142875"/>
                <a:gd name="connsiteX16" fmla="*/ 118967 w 123825"/>
                <a:gd name="connsiteY16" fmla="*/ 141370 h 142875"/>
                <a:gd name="connsiteX17" fmla="*/ 97784 w 123825"/>
                <a:gd name="connsiteY17" fmla="*/ 137379 h 142875"/>
                <a:gd name="connsiteX18" fmla="*/ 87725 w 123825"/>
                <a:gd name="connsiteY18" fmla="*/ 124206 h 142875"/>
                <a:gd name="connsiteX19" fmla="*/ 85525 w 123825"/>
                <a:gd name="connsiteY19" fmla="*/ 75476 h 142875"/>
                <a:gd name="connsiteX20" fmla="*/ 70142 w 123825"/>
                <a:gd name="connsiteY20" fmla="*/ 73057 h 142875"/>
                <a:gd name="connsiteX21" fmla="*/ 41453 w 123825"/>
                <a:gd name="connsiteY21" fmla="*/ 82001 h 142875"/>
                <a:gd name="connsiteX22" fmla="*/ 30347 w 123825"/>
                <a:gd name="connsiteY22" fmla="*/ 103165 h 142875"/>
                <a:gd name="connsiteX23" fmla="*/ 54397 w 123825"/>
                <a:gd name="connsiteY23" fmla="*/ 123358 h 142875"/>
                <a:gd name="connsiteX24" fmla="*/ 85525 w 123825"/>
                <a:gd name="connsiteY24" fmla="*/ 106794 h 142875"/>
                <a:gd name="connsiteX25" fmla="*/ 85525 w 123825"/>
                <a:gd name="connsiteY25" fmla="*/ 75476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3825" h="142875">
                  <a:moveTo>
                    <a:pt x="87725" y="124206"/>
                  </a:moveTo>
                  <a:cubicBezTo>
                    <a:pt x="78448" y="135741"/>
                    <a:pt x="64246" y="141494"/>
                    <a:pt x="45120" y="141494"/>
                  </a:cubicBezTo>
                  <a:cubicBezTo>
                    <a:pt x="34862" y="141494"/>
                    <a:pt x="25975" y="137798"/>
                    <a:pt x="18440" y="130435"/>
                  </a:cubicBezTo>
                  <a:cubicBezTo>
                    <a:pt x="10916" y="123054"/>
                    <a:pt x="7144" y="113881"/>
                    <a:pt x="7144" y="102918"/>
                  </a:cubicBezTo>
                  <a:cubicBezTo>
                    <a:pt x="7144" y="89783"/>
                    <a:pt x="12945" y="78677"/>
                    <a:pt x="24536" y="69599"/>
                  </a:cubicBezTo>
                  <a:cubicBezTo>
                    <a:pt x="36138" y="60541"/>
                    <a:pt x="50921" y="55997"/>
                    <a:pt x="68913" y="55997"/>
                  </a:cubicBezTo>
                  <a:cubicBezTo>
                    <a:pt x="73800" y="55997"/>
                    <a:pt x="79334" y="57036"/>
                    <a:pt x="85516" y="59141"/>
                  </a:cubicBezTo>
                  <a:cubicBezTo>
                    <a:pt x="85516" y="38176"/>
                    <a:pt x="76067" y="27699"/>
                    <a:pt x="57188" y="27699"/>
                  </a:cubicBezTo>
                  <a:cubicBezTo>
                    <a:pt x="42701" y="27699"/>
                    <a:pt x="31547" y="31566"/>
                    <a:pt x="23736" y="39310"/>
                  </a:cubicBezTo>
                  <a:lnTo>
                    <a:pt x="13973" y="20079"/>
                  </a:lnTo>
                  <a:cubicBezTo>
                    <a:pt x="18364" y="16535"/>
                    <a:pt x="24451" y="13487"/>
                    <a:pt x="32223" y="10954"/>
                  </a:cubicBezTo>
                  <a:cubicBezTo>
                    <a:pt x="39996" y="8401"/>
                    <a:pt x="47425" y="7144"/>
                    <a:pt x="54502" y="7144"/>
                  </a:cubicBezTo>
                  <a:cubicBezTo>
                    <a:pt x="73466" y="7144"/>
                    <a:pt x="87240" y="11421"/>
                    <a:pt x="95822" y="19964"/>
                  </a:cubicBezTo>
                  <a:cubicBezTo>
                    <a:pt x="104413" y="28499"/>
                    <a:pt x="108709" y="42091"/>
                    <a:pt x="108709" y="60712"/>
                  </a:cubicBezTo>
                  <a:lnTo>
                    <a:pt x="108709" y="107147"/>
                  </a:lnTo>
                  <a:cubicBezTo>
                    <a:pt x="108709" y="118510"/>
                    <a:pt x="112128" y="126092"/>
                    <a:pt x="118967" y="129883"/>
                  </a:cubicBezTo>
                  <a:lnTo>
                    <a:pt x="118967" y="141370"/>
                  </a:lnTo>
                  <a:cubicBezTo>
                    <a:pt x="109518" y="141370"/>
                    <a:pt x="102470" y="140037"/>
                    <a:pt x="97784" y="137379"/>
                  </a:cubicBezTo>
                  <a:cubicBezTo>
                    <a:pt x="93116" y="134731"/>
                    <a:pt x="89754" y="130331"/>
                    <a:pt x="87725" y="124206"/>
                  </a:cubicBezTo>
                  <a:close/>
                  <a:moveTo>
                    <a:pt x="85525" y="75476"/>
                  </a:moveTo>
                  <a:cubicBezTo>
                    <a:pt x="78200" y="73866"/>
                    <a:pt x="73076" y="73057"/>
                    <a:pt x="70142" y="73057"/>
                  </a:cubicBezTo>
                  <a:cubicBezTo>
                    <a:pt x="58426" y="73057"/>
                    <a:pt x="48854" y="76038"/>
                    <a:pt x="41453" y="82001"/>
                  </a:cubicBezTo>
                  <a:cubicBezTo>
                    <a:pt x="34052" y="87963"/>
                    <a:pt x="30347" y="95012"/>
                    <a:pt x="30347" y="103165"/>
                  </a:cubicBezTo>
                  <a:cubicBezTo>
                    <a:pt x="30347" y="116634"/>
                    <a:pt x="38357" y="123358"/>
                    <a:pt x="54397" y="123358"/>
                  </a:cubicBezTo>
                  <a:cubicBezTo>
                    <a:pt x="66113" y="123358"/>
                    <a:pt x="76495" y="117843"/>
                    <a:pt x="85525" y="106794"/>
                  </a:cubicBezTo>
                  <a:lnTo>
                    <a:pt x="85525" y="75476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2" name="Forme libre : forme 101">
              <a:extLst>
                <a:ext uri="{FF2B5EF4-FFF2-40B4-BE49-F238E27FC236}">
                  <a16:creationId xmlns:a16="http://schemas.microsoft.com/office/drawing/2014/main" id="{AF4FC958-61A1-429F-BDA5-D5CC9D4D081A}"/>
                </a:ext>
              </a:extLst>
            </p:cNvPr>
            <p:cNvSpPr/>
            <p:nvPr/>
          </p:nvSpPr>
          <p:spPr>
            <a:xfrm>
              <a:off x="4481868" y="3649120"/>
              <a:ext cx="85725" cy="142875"/>
            </a:xfrm>
            <a:custGeom>
              <a:avLst/>
              <a:gdLst>
                <a:gd name="connsiteX0" fmla="*/ 76372 w 85725"/>
                <a:gd name="connsiteY0" fmla="*/ 31690 h 142875"/>
                <a:gd name="connsiteX1" fmla="*/ 61103 w 85725"/>
                <a:gd name="connsiteY1" fmla="*/ 26489 h 142875"/>
                <a:gd name="connsiteX2" fmla="*/ 39557 w 85725"/>
                <a:gd name="connsiteY2" fmla="*/ 37738 h 142875"/>
                <a:gd name="connsiteX3" fmla="*/ 30337 w 85725"/>
                <a:gd name="connsiteY3" fmla="*/ 64827 h 142875"/>
                <a:gd name="connsiteX4" fmla="*/ 30337 w 85725"/>
                <a:gd name="connsiteY4" fmla="*/ 139075 h 142875"/>
                <a:gd name="connsiteX5" fmla="*/ 7144 w 85725"/>
                <a:gd name="connsiteY5" fmla="*/ 139075 h 142875"/>
                <a:gd name="connsiteX6" fmla="*/ 7144 w 85725"/>
                <a:gd name="connsiteY6" fmla="*/ 9563 h 142875"/>
                <a:gd name="connsiteX7" fmla="*/ 30337 w 85725"/>
                <a:gd name="connsiteY7" fmla="*/ 9563 h 142875"/>
                <a:gd name="connsiteX8" fmla="*/ 30337 w 85725"/>
                <a:gd name="connsiteY8" fmla="*/ 30242 h 142875"/>
                <a:gd name="connsiteX9" fmla="*/ 68066 w 85725"/>
                <a:gd name="connsiteY9" fmla="*/ 7144 h 142875"/>
                <a:gd name="connsiteX10" fmla="*/ 86001 w 85725"/>
                <a:gd name="connsiteY10" fmla="*/ 9325 h 142875"/>
                <a:gd name="connsiteX11" fmla="*/ 76372 w 85725"/>
                <a:gd name="connsiteY11" fmla="*/ 3169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142875">
                  <a:moveTo>
                    <a:pt x="76372" y="31690"/>
                  </a:moveTo>
                  <a:cubicBezTo>
                    <a:pt x="71323" y="28223"/>
                    <a:pt x="66227" y="26489"/>
                    <a:pt x="61103" y="26489"/>
                  </a:cubicBezTo>
                  <a:cubicBezTo>
                    <a:pt x="52883" y="26489"/>
                    <a:pt x="45701" y="30242"/>
                    <a:pt x="39557" y="37738"/>
                  </a:cubicBezTo>
                  <a:cubicBezTo>
                    <a:pt x="33414" y="45234"/>
                    <a:pt x="30337" y="54264"/>
                    <a:pt x="30337" y="64827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30337" y="9563"/>
                  </a:lnTo>
                  <a:lnTo>
                    <a:pt x="30337" y="30242"/>
                  </a:lnTo>
                  <a:cubicBezTo>
                    <a:pt x="38805" y="14849"/>
                    <a:pt x="51378" y="7144"/>
                    <a:pt x="68066" y="7144"/>
                  </a:cubicBezTo>
                  <a:cubicBezTo>
                    <a:pt x="72219" y="7144"/>
                    <a:pt x="78191" y="7868"/>
                    <a:pt x="86001" y="9325"/>
                  </a:cubicBezTo>
                  <a:lnTo>
                    <a:pt x="76372" y="3169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3" name="Forme libre : forme 102">
              <a:extLst>
                <a:ext uri="{FF2B5EF4-FFF2-40B4-BE49-F238E27FC236}">
                  <a16:creationId xmlns:a16="http://schemas.microsoft.com/office/drawing/2014/main" id="{59F5228F-98E9-4DA1-9ABC-498710FA2A2A}"/>
                </a:ext>
              </a:extLst>
            </p:cNvPr>
            <p:cNvSpPr/>
            <p:nvPr/>
          </p:nvSpPr>
          <p:spPr>
            <a:xfrm>
              <a:off x="4638011" y="3602562"/>
              <a:ext cx="57150" cy="190500"/>
            </a:xfrm>
            <a:custGeom>
              <a:avLst/>
              <a:gdLst>
                <a:gd name="connsiteX0" fmla="*/ 25089 w 57150"/>
                <a:gd name="connsiteY0" fmla="*/ 185633 h 190500"/>
                <a:gd name="connsiteX1" fmla="*/ 25089 w 57150"/>
                <a:gd name="connsiteY1" fmla="*/ 75466 h 190500"/>
                <a:gd name="connsiteX2" fmla="*/ 7144 w 57150"/>
                <a:gd name="connsiteY2" fmla="*/ 75466 h 190500"/>
                <a:gd name="connsiteX3" fmla="*/ 7144 w 57150"/>
                <a:gd name="connsiteY3" fmla="*/ 56121 h 190500"/>
                <a:gd name="connsiteX4" fmla="*/ 48282 w 57150"/>
                <a:gd name="connsiteY4" fmla="*/ 56121 h 190500"/>
                <a:gd name="connsiteX5" fmla="*/ 48282 w 57150"/>
                <a:gd name="connsiteY5" fmla="*/ 185633 h 190500"/>
                <a:gd name="connsiteX6" fmla="*/ 25089 w 57150"/>
                <a:gd name="connsiteY6" fmla="*/ 185633 h 190500"/>
                <a:gd name="connsiteX7" fmla="*/ 37786 w 57150"/>
                <a:gd name="connsiteY7" fmla="*/ 7144 h 190500"/>
                <a:gd name="connsiteX8" fmla="*/ 47987 w 57150"/>
                <a:gd name="connsiteY8" fmla="*/ 11316 h 190500"/>
                <a:gd name="connsiteX9" fmla="*/ 52197 w 57150"/>
                <a:gd name="connsiteY9" fmla="*/ 21288 h 190500"/>
                <a:gd name="connsiteX10" fmla="*/ 47987 w 57150"/>
                <a:gd name="connsiteY10" fmla="*/ 31394 h 190500"/>
                <a:gd name="connsiteX11" fmla="*/ 37786 w 57150"/>
                <a:gd name="connsiteY11" fmla="*/ 35566 h 190500"/>
                <a:gd name="connsiteX12" fmla="*/ 27718 w 57150"/>
                <a:gd name="connsiteY12" fmla="*/ 31394 h 190500"/>
                <a:gd name="connsiteX13" fmla="*/ 23498 w 57150"/>
                <a:gd name="connsiteY13" fmla="*/ 21288 h 190500"/>
                <a:gd name="connsiteX14" fmla="*/ 27651 w 57150"/>
                <a:gd name="connsiteY14" fmla="*/ 11249 h 190500"/>
                <a:gd name="connsiteX15" fmla="*/ 37786 w 57150"/>
                <a:gd name="connsiteY15" fmla="*/ 7144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90500">
                  <a:moveTo>
                    <a:pt x="25089" y="185633"/>
                  </a:moveTo>
                  <a:lnTo>
                    <a:pt x="25089" y="75466"/>
                  </a:lnTo>
                  <a:lnTo>
                    <a:pt x="7144" y="75466"/>
                  </a:lnTo>
                  <a:lnTo>
                    <a:pt x="7144" y="56121"/>
                  </a:lnTo>
                  <a:lnTo>
                    <a:pt x="48282" y="56121"/>
                  </a:lnTo>
                  <a:lnTo>
                    <a:pt x="48282" y="185633"/>
                  </a:lnTo>
                  <a:lnTo>
                    <a:pt x="25089" y="185633"/>
                  </a:lnTo>
                  <a:close/>
                  <a:moveTo>
                    <a:pt x="37786" y="7144"/>
                  </a:moveTo>
                  <a:cubicBezTo>
                    <a:pt x="41767" y="7144"/>
                    <a:pt x="45168" y="8534"/>
                    <a:pt x="47987" y="11316"/>
                  </a:cubicBezTo>
                  <a:cubicBezTo>
                    <a:pt x="50787" y="14087"/>
                    <a:pt x="52197" y="17421"/>
                    <a:pt x="52197" y="21288"/>
                  </a:cubicBezTo>
                  <a:cubicBezTo>
                    <a:pt x="52197" y="25232"/>
                    <a:pt x="50787" y="28603"/>
                    <a:pt x="47987" y="31394"/>
                  </a:cubicBezTo>
                  <a:cubicBezTo>
                    <a:pt x="45168" y="34166"/>
                    <a:pt x="41767" y="35566"/>
                    <a:pt x="37786" y="35566"/>
                  </a:cubicBezTo>
                  <a:cubicBezTo>
                    <a:pt x="33880" y="35566"/>
                    <a:pt x="30518" y="34176"/>
                    <a:pt x="27718" y="31394"/>
                  </a:cubicBezTo>
                  <a:cubicBezTo>
                    <a:pt x="24898" y="28603"/>
                    <a:pt x="23498" y="25241"/>
                    <a:pt x="23498" y="21288"/>
                  </a:cubicBezTo>
                  <a:cubicBezTo>
                    <a:pt x="23498" y="17335"/>
                    <a:pt x="24879" y="13992"/>
                    <a:pt x="27651" y="11249"/>
                  </a:cubicBezTo>
                  <a:cubicBezTo>
                    <a:pt x="30423" y="8515"/>
                    <a:pt x="33804" y="7144"/>
                    <a:pt x="37786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4" name="Forme libre : forme 103">
              <a:extLst>
                <a:ext uri="{FF2B5EF4-FFF2-40B4-BE49-F238E27FC236}">
                  <a16:creationId xmlns:a16="http://schemas.microsoft.com/office/drawing/2014/main" id="{FBBB3FAA-A65C-4584-92A7-634B6E82AE2B}"/>
                </a:ext>
              </a:extLst>
            </p:cNvPr>
            <p:cNvSpPr/>
            <p:nvPr/>
          </p:nvSpPr>
          <p:spPr>
            <a:xfrm>
              <a:off x="4774980" y="3649120"/>
              <a:ext cx="95250" cy="142875"/>
            </a:xfrm>
            <a:custGeom>
              <a:avLst/>
              <a:gdLst>
                <a:gd name="connsiteX0" fmla="*/ 7144 w 95250"/>
                <a:gd name="connsiteY0" fmla="*/ 131331 h 142875"/>
                <a:gd name="connsiteX1" fmla="*/ 15335 w 95250"/>
                <a:gd name="connsiteY1" fmla="*/ 109566 h 142875"/>
                <a:gd name="connsiteX2" fmla="*/ 46587 w 95250"/>
                <a:gd name="connsiteY2" fmla="*/ 122139 h 142875"/>
                <a:gd name="connsiteX3" fmla="*/ 68075 w 95250"/>
                <a:gd name="connsiteY3" fmla="*/ 104242 h 142875"/>
                <a:gd name="connsiteX4" fmla="*/ 47320 w 95250"/>
                <a:gd name="connsiteY4" fmla="*/ 82229 h 142875"/>
                <a:gd name="connsiteX5" fmla="*/ 25765 w 95250"/>
                <a:gd name="connsiteY5" fmla="*/ 71228 h 142875"/>
                <a:gd name="connsiteX6" fmla="*/ 16116 w 95250"/>
                <a:gd name="connsiteY6" fmla="*/ 62703 h 142875"/>
                <a:gd name="connsiteX7" fmla="*/ 10011 w 95250"/>
                <a:gd name="connsiteY7" fmla="*/ 52549 h 142875"/>
                <a:gd name="connsiteX8" fmla="*/ 8001 w 95250"/>
                <a:gd name="connsiteY8" fmla="*/ 40996 h 142875"/>
                <a:gd name="connsiteX9" fmla="*/ 19717 w 95250"/>
                <a:gd name="connsiteY9" fmla="*/ 16088 h 142875"/>
                <a:gd name="connsiteX10" fmla="*/ 50349 w 95250"/>
                <a:gd name="connsiteY10" fmla="*/ 7144 h 142875"/>
                <a:gd name="connsiteX11" fmla="*/ 86373 w 95250"/>
                <a:gd name="connsiteY11" fmla="*/ 16088 h 142875"/>
                <a:gd name="connsiteX12" fmla="*/ 79781 w 95250"/>
                <a:gd name="connsiteY12" fmla="*/ 37366 h 142875"/>
                <a:gd name="connsiteX13" fmla="*/ 52064 w 95250"/>
                <a:gd name="connsiteY13" fmla="*/ 26479 h 142875"/>
                <a:gd name="connsiteX14" fmla="*/ 38091 w 95250"/>
                <a:gd name="connsiteY14" fmla="*/ 30347 h 142875"/>
                <a:gd name="connsiteX15" fmla="*/ 32414 w 95250"/>
                <a:gd name="connsiteY15" fmla="*/ 40138 h 142875"/>
                <a:gd name="connsiteX16" fmla="*/ 46692 w 95250"/>
                <a:gd name="connsiteY16" fmla="*/ 58998 h 142875"/>
                <a:gd name="connsiteX17" fmla="*/ 63294 w 95250"/>
                <a:gd name="connsiteY17" fmla="*/ 66494 h 142875"/>
                <a:gd name="connsiteX18" fmla="*/ 85515 w 95250"/>
                <a:gd name="connsiteY18" fmla="*/ 82210 h 142875"/>
                <a:gd name="connsiteX19" fmla="*/ 92488 w 95250"/>
                <a:gd name="connsiteY19" fmla="*/ 104337 h 142875"/>
                <a:gd name="connsiteX20" fmla="*/ 80143 w 95250"/>
                <a:gd name="connsiteY20" fmla="*/ 131607 h 142875"/>
                <a:gd name="connsiteX21" fmla="*/ 45958 w 95250"/>
                <a:gd name="connsiteY21" fmla="*/ 141456 h 142875"/>
                <a:gd name="connsiteX22" fmla="*/ 7144 w 95250"/>
                <a:gd name="connsiteY22" fmla="*/ 131331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5250" h="142875">
                  <a:moveTo>
                    <a:pt x="7144" y="131331"/>
                  </a:moveTo>
                  <a:lnTo>
                    <a:pt x="15335" y="109566"/>
                  </a:lnTo>
                  <a:cubicBezTo>
                    <a:pt x="28280" y="117948"/>
                    <a:pt x="38691" y="122139"/>
                    <a:pt x="46587" y="122139"/>
                  </a:cubicBezTo>
                  <a:cubicBezTo>
                    <a:pt x="60913" y="122139"/>
                    <a:pt x="68075" y="116176"/>
                    <a:pt x="68075" y="104242"/>
                  </a:cubicBezTo>
                  <a:cubicBezTo>
                    <a:pt x="68075" y="95698"/>
                    <a:pt x="61151" y="88363"/>
                    <a:pt x="47320" y="82229"/>
                  </a:cubicBezTo>
                  <a:cubicBezTo>
                    <a:pt x="36652" y="77391"/>
                    <a:pt x="29480" y="73714"/>
                    <a:pt x="25765" y="71228"/>
                  </a:cubicBezTo>
                  <a:cubicBezTo>
                    <a:pt x="22050" y="68742"/>
                    <a:pt x="18840" y="65884"/>
                    <a:pt x="16116" y="62703"/>
                  </a:cubicBezTo>
                  <a:cubicBezTo>
                    <a:pt x="13392" y="59512"/>
                    <a:pt x="11354" y="56131"/>
                    <a:pt x="10011" y="52549"/>
                  </a:cubicBezTo>
                  <a:cubicBezTo>
                    <a:pt x="8668" y="48958"/>
                    <a:pt x="8001" y="45110"/>
                    <a:pt x="8001" y="40996"/>
                  </a:cubicBezTo>
                  <a:cubicBezTo>
                    <a:pt x="8001" y="30356"/>
                    <a:pt x="11906" y="22060"/>
                    <a:pt x="19717" y="16088"/>
                  </a:cubicBezTo>
                  <a:cubicBezTo>
                    <a:pt x="27527" y="10116"/>
                    <a:pt x="37738" y="7144"/>
                    <a:pt x="50349" y="7144"/>
                  </a:cubicBezTo>
                  <a:cubicBezTo>
                    <a:pt x="59874" y="7144"/>
                    <a:pt x="71885" y="10125"/>
                    <a:pt x="86373" y="16088"/>
                  </a:cubicBezTo>
                  <a:lnTo>
                    <a:pt x="79781" y="37366"/>
                  </a:lnTo>
                  <a:cubicBezTo>
                    <a:pt x="70580" y="30108"/>
                    <a:pt x="61341" y="26479"/>
                    <a:pt x="52064" y="26479"/>
                  </a:cubicBezTo>
                  <a:cubicBezTo>
                    <a:pt x="46530" y="26479"/>
                    <a:pt x="41872" y="27765"/>
                    <a:pt x="38091" y="30347"/>
                  </a:cubicBezTo>
                  <a:cubicBezTo>
                    <a:pt x="34309" y="32928"/>
                    <a:pt x="32414" y="36185"/>
                    <a:pt x="32414" y="40138"/>
                  </a:cubicBezTo>
                  <a:cubicBezTo>
                    <a:pt x="32414" y="48444"/>
                    <a:pt x="37167" y="54731"/>
                    <a:pt x="46692" y="58998"/>
                  </a:cubicBezTo>
                  <a:lnTo>
                    <a:pt x="63294" y="66494"/>
                  </a:lnTo>
                  <a:cubicBezTo>
                    <a:pt x="73476" y="71085"/>
                    <a:pt x="80877" y="76324"/>
                    <a:pt x="85515" y="82210"/>
                  </a:cubicBezTo>
                  <a:cubicBezTo>
                    <a:pt x="90154" y="88097"/>
                    <a:pt x="92488" y="95469"/>
                    <a:pt x="92488" y="104337"/>
                  </a:cubicBezTo>
                  <a:cubicBezTo>
                    <a:pt x="92488" y="115948"/>
                    <a:pt x="88373" y="125035"/>
                    <a:pt x="80143" y="131607"/>
                  </a:cubicBezTo>
                  <a:cubicBezTo>
                    <a:pt x="71924" y="138170"/>
                    <a:pt x="60531" y="141456"/>
                    <a:pt x="45958" y="141456"/>
                  </a:cubicBezTo>
                  <a:cubicBezTo>
                    <a:pt x="32214" y="141494"/>
                    <a:pt x="19269" y="138103"/>
                    <a:pt x="7144" y="131331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5" name="Forme libre : forme 104">
              <a:extLst>
                <a:ext uri="{FF2B5EF4-FFF2-40B4-BE49-F238E27FC236}">
                  <a16:creationId xmlns:a16="http://schemas.microsoft.com/office/drawing/2014/main" id="{BD5CBC48-64FA-4943-B560-6D23857954F0}"/>
                </a:ext>
              </a:extLst>
            </p:cNvPr>
            <p:cNvSpPr/>
            <p:nvPr/>
          </p:nvSpPr>
          <p:spPr>
            <a:xfrm>
              <a:off x="5102345" y="3689420"/>
              <a:ext cx="66675" cy="66675"/>
            </a:xfrm>
            <a:custGeom>
              <a:avLst/>
              <a:gdLst>
                <a:gd name="connsiteX0" fmla="*/ 34280 w 66675"/>
                <a:gd name="connsiteY0" fmla="*/ 7144 h 66675"/>
                <a:gd name="connsiteX1" fmla="*/ 53492 w 66675"/>
                <a:gd name="connsiteY1" fmla="*/ 15002 h 66675"/>
                <a:gd name="connsiteX2" fmla="*/ 61417 w 66675"/>
                <a:gd name="connsiteY2" fmla="*/ 34023 h 66675"/>
                <a:gd name="connsiteX3" fmla="*/ 53492 w 66675"/>
                <a:gd name="connsiteY3" fmla="*/ 53045 h 66675"/>
                <a:gd name="connsiteX4" fmla="*/ 34280 w 66675"/>
                <a:gd name="connsiteY4" fmla="*/ 60903 h 66675"/>
                <a:gd name="connsiteX5" fmla="*/ 15087 w 66675"/>
                <a:gd name="connsiteY5" fmla="*/ 53045 h 66675"/>
                <a:gd name="connsiteX6" fmla="*/ 7144 w 66675"/>
                <a:gd name="connsiteY6" fmla="*/ 34023 h 66675"/>
                <a:gd name="connsiteX7" fmla="*/ 15087 w 66675"/>
                <a:gd name="connsiteY7" fmla="*/ 15002 h 66675"/>
                <a:gd name="connsiteX8" fmla="*/ 34280 w 66675"/>
                <a:gd name="connsiteY8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66675">
                  <a:moveTo>
                    <a:pt x="34280" y="7144"/>
                  </a:moveTo>
                  <a:cubicBezTo>
                    <a:pt x="41796" y="7144"/>
                    <a:pt x="48196" y="9763"/>
                    <a:pt x="53492" y="15002"/>
                  </a:cubicBezTo>
                  <a:cubicBezTo>
                    <a:pt x="58779" y="20241"/>
                    <a:pt x="61417" y="26584"/>
                    <a:pt x="61417" y="34023"/>
                  </a:cubicBezTo>
                  <a:cubicBezTo>
                    <a:pt x="61417" y="41462"/>
                    <a:pt x="58779" y="47806"/>
                    <a:pt x="53492" y="53045"/>
                  </a:cubicBezTo>
                  <a:cubicBezTo>
                    <a:pt x="48196" y="58284"/>
                    <a:pt x="41796" y="60903"/>
                    <a:pt x="34280" y="60903"/>
                  </a:cubicBezTo>
                  <a:cubicBezTo>
                    <a:pt x="26765" y="60903"/>
                    <a:pt x="20374" y="58284"/>
                    <a:pt x="15087" y="53045"/>
                  </a:cubicBezTo>
                  <a:cubicBezTo>
                    <a:pt x="9792" y="47806"/>
                    <a:pt x="7144" y="41462"/>
                    <a:pt x="7144" y="34023"/>
                  </a:cubicBezTo>
                  <a:cubicBezTo>
                    <a:pt x="7144" y="26584"/>
                    <a:pt x="9792" y="20241"/>
                    <a:pt x="15087" y="15002"/>
                  </a:cubicBezTo>
                  <a:cubicBezTo>
                    <a:pt x="20374" y="9763"/>
                    <a:pt x="26765" y="7144"/>
                    <a:pt x="34280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" name="Forme libre : forme 105">
              <a:extLst>
                <a:ext uri="{FF2B5EF4-FFF2-40B4-BE49-F238E27FC236}">
                  <a16:creationId xmlns:a16="http://schemas.microsoft.com/office/drawing/2014/main" id="{4F8034E1-49AC-47DE-AAEE-33A30F35F8CD}"/>
                </a:ext>
              </a:extLst>
            </p:cNvPr>
            <p:cNvSpPr/>
            <p:nvPr/>
          </p:nvSpPr>
          <p:spPr>
            <a:xfrm>
              <a:off x="5376656" y="3603895"/>
              <a:ext cx="180975" cy="190500"/>
            </a:xfrm>
            <a:custGeom>
              <a:avLst/>
              <a:gdLst>
                <a:gd name="connsiteX0" fmla="*/ 157658 w 180975"/>
                <a:gd name="connsiteY0" fmla="*/ 184299 h 190500"/>
                <a:gd name="connsiteX1" fmla="*/ 136417 w 180975"/>
                <a:gd name="connsiteY1" fmla="*/ 70514 h 190500"/>
                <a:gd name="connsiteX2" fmla="*/ 97355 w 180975"/>
                <a:gd name="connsiteY2" fmla="*/ 186719 h 190500"/>
                <a:gd name="connsiteX3" fmla="*/ 91250 w 180975"/>
                <a:gd name="connsiteY3" fmla="*/ 186719 h 190500"/>
                <a:gd name="connsiteX4" fmla="*/ 51092 w 180975"/>
                <a:gd name="connsiteY4" fmla="*/ 70514 h 190500"/>
                <a:gd name="connsiteX5" fmla="*/ 30337 w 180975"/>
                <a:gd name="connsiteY5" fmla="*/ 184299 h 190500"/>
                <a:gd name="connsiteX6" fmla="*/ 7144 w 180975"/>
                <a:gd name="connsiteY6" fmla="*/ 184299 h 190500"/>
                <a:gd name="connsiteX7" fmla="*/ 40596 w 180975"/>
                <a:gd name="connsiteY7" fmla="*/ 7144 h 190500"/>
                <a:gd name="connsiteX8" fmla="*/ 51692 w 180975"/>
                <a:gd name="connsiteY8" fmla="*/ 7144 h 190500"/>
                <a:gd name="connsiteX9" fmla="*/ 94307 w 180975"/>
                <a:gd name="connsiteY9" fmla="*/ 136408 h 190500"/>
                <a:gd name="connsiteX10" fmla="*/ 133617 w 180975"/>
                <a:gd name="connsiteY10" fmla="*/ 7144 h 190500"/>
                <a:gd name="connsiteX11" fmla="*/ 144609 w 180975"/>
                <a:gd name="connsiteY11" fmla="*/ 7144 h 190500"/>
                <a:gd name="connsiteX12" fmla="*/ 180861 w 180975"/>
                <a:gd name="connsiteY12" fmla="*/ 184299 h 190500"/>
                <a:gd name="connsiteX13" fmla="*/ 157658 w 180975"/>
                <a:gd name="connsiteY13" fmla="*/ 184299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975" h="190500">
                  <a:moveTo>
                    <a:pt x="157658" y="184299"/>
                  </a:moveTo>
                  <a:lnTo>
                    <a:pt x="136417" y="70514"/>
                  </a:lnTo>
                  <a:lnTo>
                    <a:pt x="97355" y="186719"/>
                  </a:lnTo>
                  <a:lnTo>
                    <a:pt x="91250" y="186719"/>
                  </a:lnTo>
                  <a:lnTo>
                    <a:pt x="51092" y="70514"/>
                  </a:lnTo>
                  <a:lnTo>
                    <a:pt x="30337" y="184299"/>
                  </a:lnTo>
                  <a:lnTo>
                    <a:pt x="7144" y="184299"/>
                  </a:lnTo>
                  <a:lnTo>
                    <a:pt x="40596" y="7144"/>
                  </a:lnTo>
                  <a:lnTo>
                    <a:pt x="51692" y="7144"/>
                  </a:lnTo>
                  <a:lnTo>
                    <a:pt x="94307" y="136408"/>
                  </a:lnTo>
                  <a:lnTo>
                    <a:pt x="133617" y="7144"/>
                  </a:lnTo>
                  <a:lnTo>
                    <a:pt x="144609" y="7144"/>
                  </a:lnTo>
                  <a:lnTo>
                    <a:pt x="180861" y="184299"/>
                  </a:lnTo>
                  <a:lnTo>
                    <a:pt x="157658" y="184299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" name="Forme libre : forme 106">
              <a:extLst>
                <a:ext uri="{FF2B5EF4-FFF2-40B4-BE49-F238E27FC236}">
                  <a16:creationId xmlns:a16="http://schemas.microsoft.com/office/drawing/2014/main" id="{04A6C2A8-2A59-4C96-898C-DDF358A3360F}"/>
                </a:ext>
              </a:extLst>
            </p:cNvPr>
            <p:cNvSpPr/>
            <p:nvPr/>
          </p:nvSpPr>
          <p:spPr>
            <a:xfrm>
              <a:off x="5628859" y="3649110"/>
              <a:ext cx="123825" cy="142875"/>
            </a:xfrm>
            <a:custGeom>
              <a:avLst/>
              <a:gdLst>
                <a:gd name="connsiteX0" fmla="*/ 87716 w 123825"/>
                <a:gd name="connsiteY0" fmla="*/ 124206 h 142875"/>
                <a:gd name="connsiteX1" fmla="*/ 45111 w 123825"/>
                <a:gd name="connsiteY1" fmla="*/ 141494 h 142875"/>
                <a:gd name="connsiteX2" fmla="*/ 18440 w 123825"/>
                <a:gd name="connsiteY2" fmla="*/ 130435 h 142875"/>
                <a:gd name="connsiteX3" fmla="*/ 7144 w 123825"/>
                <a:gd name="connsiteY3" fmla="*/ 102918 h 142875"/>
                <a:gd name="connsiteX4" fmla="*/ 24546 w 123825"/>
                <a:gd name="connsiteY4" fmla="*/ 69599 h 142875"/>
                <a:gd name="connsiteX5" fmla="*/ 68914 w 123825"/>
                <a:gd name="connsiteY5" fmla="*/ 55997 h 142875"/>
                <a:gd name="connsiteX6" fmla="*/ 85516 w 123825"/>
                <a:gd name="connsiteY6" fmla="*/ 59141 h 142875"/>
                <a:gd name="connsiteX7" fmla="*/ 57188 w 123825"/>
                <a:gd name="connsiteY7" fmla="*/ 27699 h 142875"/>
                <a:gd name="connsiteX8" fmla="*/ 23736 w 123825"/>
                <a:gd name="connsiteY8" fmla="*/ 39310 h 142875"/>
                <a:gd name="connsiteX9" fmla="*/ 13973 w 123825"/>
                <a:gd name="connsiteY9" fmla="*/ 20079 h 142875"/>
                <a:gd name="connsiteX10" fmla="*/ 32223 w 123825"/>
                <a:gd name="connsiteY10" fmla="*/ 10954 h 142875"/>
                <a:gd name="connsiteX11" fmla="*/ 54512 w 123825"/>
                <a:gd name="connsiteY11" fmla="*/ 7144 h 142875"/>
                <a:gd name="connsiteX12" fmla="*/ 95841 w 123825"/>
                <a:gd name="connsiteY12" fmla="*/ 19964 h 142875"/>
                <a:gd name="connsiteX13" fmla="*/ 108718 w 123825"/>
                <a:gd name="connsiteY13" fmla="*/ 60712 h 142875"/>
                <a:gd name="connsiteX14" fmla="*/ 108718 w 123825"/>
                <a:gd name="connsiteY14" fmla="*/ 107147 h 142875"/>
                <a:gd name="connsiteX15" fmla="*/ 118977 w 123825"/>
                <a:gd name="connsiteY15" fmla="*/ 129883 h 142875"/>
                <a:gd name="connsiteX16" fmla="*/ 118977 w 123825"/>
                <a:gd name="connsiteY16" fmla="*/ 141370 h 142875"/>
                <a:gd name="connsiteX17" fmla="*/ 97803 w 123825"/>
                <a:gd name="connsiteY17" fmla="*/ 137379 h 142875"/>
                <a:gd name="connsiteX18" fmla="*/ 87716 w 123825"/>
                <a:gd name="connsiteY18" fmla="*/ 124206 h 142875"/>
                <a:gd name="connsiteX19" fmla="*/ 85525 w 123825"/>
                <a:gd name="connsiteY19" fmla="*/ 75476 h 142875"/>
                <a:gd name="connsiteX20" fmla="*/ 70142 w 123825"/>
                <a:gd name="connsiteY20" fmla="*/ 73057 h 142875"/>
                <a:gd name="connsiteX21" fmla="*/ 41453 w 123825"/>
                <a:gd name="connsiteY21" fmla="*/ 82001 h 142875"/>
                <a:gd name="connsiteX22" fmla="*/ 30347 w 123825"/>
                <a:gd name="connsiteY22" fmla="*/ 103165 h 142875"/>
                <a:gd name="connsiteX23" fmla="*/ 54398 w 123825"/>
                <a:gd name="connsiteY23" fmla="*/ 123358 h 142875"/>
                <a:gd name="connsiteX24" fmla="*/ 85525 w 123825"/>
                <a:gd name="connsiteY24" fmla="*/ 106794 h 142875"/>
                <a:gd name="connsiteX25" fmla="*/ 85525 w 123825"/>
                <a:gd name="connsiteY25" fmla="*/ 75476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3825" h="142875">
                  <a:moveTo>
                    <a:pt x="87716" y="124206"/>
                  </a:moveTo>
                  <a:cubicBezTo>
                    <a:pt x="78439" y="135741"/>
                    <a:pt x="64227" y="141494"/>
                    <a:pt x="45111" y="141494"/>
                  </a:cubicBezTo>
                  <a:cubicBezTo>
                    <a:pt x="34852" y="141494"/>
                    <a:pt x="25965" y="137798"/>
                    <a:pt x="18440" y="130435"/>
                  </a:cubicBezTo>
                  <a:cubicBezTo>
                    <a:pt x="10906" y="123054"/>
                    <a:pt x="7144" y="113881"/>
                    <a:pt x="7144" y="102918"/>
                  </a:cubicBezTo>
                  <a:cubicBezTo>
                    <a:pt x="7144" y="89783"/>
                    <a:pt x="12935" y="78677"/>
                    <a:pt x="24546" y="69599"/>
                  </a:cubicBezTo>
                  <a:cubicBezTo>
                    <a:pt x="36138" y="60541"/>
                    <a:pt x="50930" y="55997"/>
                    <a:pt x="68914" y="55997"/>
                  </a:cubicBezTo>
                  <a:cubicBezTo>
                    <a:pt x="73800" y="55997"/>
                    <a:pt x="79324" y="57036"/>
                    <a:pt x="85516" y="59141"/>
                  </a:cubicBezTo>
                  <a:cubicBezTo>
                    <a:pt x="85516" y="38176"/>
                    <a:pt x="76076" y="27699"/>
                    <a:pt x="57188" y="27699"/>
                  </a:cubicBezTo>
                  <a:cubicBezTo>
                    <a:pt x="42701" y="27699"/>
                    <a:pt x="31547" y="31566"/>
                    <a:pt x="23736" y="39310"/>
                  </a:cubicBezTo>
                  <a:lnTo>
                    <a:pt x="13973" y="20079"/>
                  </a:lnTo>
                  <a:cubicBezTo>
                    <a:pt x="18364" y="16535"/>
                    <a:pt x="24451" y="13487"/>
                    <a:pt x="32223" y="10954"/>
                  </a:cubicBezTo>
                  <a:cubicBezTo>
                    <a:pt x="39996" y="8401"/>
                    <a:pt x="47425" y="7144"/>
                    <a:pt x="54512" y="7144"/>
                  </a:cubicBezTo>
                  <a:cubicBezTo>
                    <a:pt x="73476" y="7144"/>
                    <a:pt x="87249" y="11421"/>
                    <a:pt x="95841" y="19964"/>
                  </a:cubicBezTo>
                  <a:cubicBezTo>
                    <a:pt x="104423" y="28499"/>
                    <a:pt x="108718" y="42091"/>
                    <a:pt x="108718" y="60712"/>
                  </a:cubicBezTo>
                  <a:lnTo>
                    <a:pt x="108718" y="107147"/>
                  </a:lnTo>
                  <a:cubicBezTo>
                    <a:pt x="108718" y="118510"/>
                    <a:pt x="112138" y="126092"/>
                    <a:pt x="118977" y="129883"/>
                  </a:cubicBezTo>
                  <a:lnTo>
                    <a:pt x="118977" y="141370"/>
                  </a:lnTo>
                  <a:cubicBezTo>
                    <a:pt x="109538" y="141370"/>
                    <a:pt x="102480" y="140037"/>
                    <a:pt x="97803" y="137379"/>
                  </a:cubicBezTo>
                  <a:cubicBezTo>
                    <a:pt x="93107" y="134731"/>
                    <a:pt x="89754" y="130331"/>
                    <a:pt x="87716" y="124206"/>
                  </a:cubicBezTo>
                  <a:close/>
                  <a:moveTo>
                    <a:pt x="85525" y="75476"/>
                  </a:moveTo>
                  <a:cubicBezTo>
                    <a:pt x="78200" y="73866"/>
                    <a:pt x="73076" y="73057"/>
                    <a:pt x="70142" y="73057"/>
                  </a:cubicBezTo>
                  <a:cubicBezTo>
                    <a:pt x="58426" y="73057"/>
                    <a:pt x="48854" y="76038"/>
                    <a:pt x="41453" y="82001"/>
                  </a:cubicBezTo>
                  <a:cubicBezTo>
                    <a:pt x="34052" y="87963"/>
                    <a:pt x="30347" y="95012"/>
                    <a:pt x="30347" y="103165"/>
                  </a:cubicBezTo>
                  <a:cubicBezTo>
                    <a:pt x="30347" y="116634"/>
                    <a:pt x="38357" y="123358"/>
                    <a:pt x="54398" y="123358"/>
                  </a:cubicBezTo>
                  <a:cubicBezTo>
                    <a:pt x="66113" y="123358"/>
                    <a:pt x="76495" y="117843"/>
                    <a:pt x="85525" y="106794"/>
                  </a:cubicBezTo>
                  <a:lnTo>
                    <a:pt x="85525" y="75476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C1DD6637-8CDE-4825-9EB4-46066DB32677}"/>
                </a:ext>
              </a:extLst>
            </p:cNvPr>
            <p:cNvSpPr/>
            <p:nvPr/>
          </p:nvSpPr>
          <p:spPr>
            <a:xfrm>
              <a:off x="5827121" y="3598447"/>
              <a:ext cx="123825" cy="190500"/>
            </a:xfrm>
            <a:custGeom>
              <a:avLst/>
              <a:gdLst>
                <a:gd name="connsiteX0" fmla="*/ 97365 w 123825"/>
                <a:gd name="connsiteY0" fmla="*/ 189624 h 190500"/>
                <a:gd name="connsiteX1" fmla="*/ 97365 w 123825"/>
                <a:gd name="connsiteY1" fmla="*/ 180070 h 190500"/>
                <a:gd name="connsiteX2" fmla="*/ 62208 w 123825"/>
                <a:gd name="connsiteY2" fmla="*/ 192043 h 190500"/>
                <a:gd name="connsiteX3" fmla="*/ 22413 w 123825"/>
                <a:gd name="connsiteY3" fmla="*/ 174631 h 190500"/>
                <a:gd name="connsiteX4" fmla="*/ 7144 w 123825"/>
                <a:gd name="connsiteY4" fmla="*/ 128197 h 190500"/>
                <a:gd name="connsiteX5" fmla="*/ 24727 w 123825"/>
                <a:gd name="connsiteY5" fmla="*/ 78429 h 190500"/>
                <a:gd name="connsiteX6" fmla="*/ 66608 w 123825"/>
                <a:gd name="connsiteY6" fmla="*/ 57817 h 190500"/>
                <a:gd name="connsiteX7" fmla="*/ 97374 w 123825"/>
                <a:gd name="connsiteY7" fmla="*/ 67246 h 190500"/>
                <a:gd name="connsiteX8" fmla="*/ 97374 w 123825"/>
                <a:gd name="connsiteY8" fmla="*/ 7144 h 190500"/>
                <a:gd name="connsiteX9" fmla="*/ 120568 w 123825"/>
                <a:gd name="connsiteY9" fmla="*/ 7144 h 190500"/>
                <a:gd name="connsiteX10" fmla="*/ 120568 w 123825"/>
                <a:gd name="connsiteY10" fmla="*/ 189614 h 190500"/>
                <a:gd name="connsiteX11" fmla="*/ 97365 w 123825"/>
                <a:gd name="connsiteY11" fmla="*/ 189614 h 190500"/>
                <a:gd name="connsiteX12" fmla="*/ 97365 w 123825"/>
                <a:gd name="connsiteY12" fmla="*/ 90230 h 190500"/>
                <a:gd name="connsiteX13" fmla="*/ 73305 w 123825"/>
                <a:gd name="connsiteY13" fmla="*/ 77172 h 190500"/>
                <a:gd name="connsiteX14" fmla="*/ 43091 w 123825"/>
                <a:gd name="connsiteY14" fmla="*/ 90954 h 190500"/>
                <a:gd name="connsiteX15" fmla="*/ 31547 w 123825"/>
                <a:gd name="connsiteY15" fmla="*/ 126025 h 190500"/>
                <a:gd name="connsiteX16" fmla="*/ 74524 w 123825"/>
                <a:gd name="connsiteY16" fmla="*/ 172822 h 190500"/>
                <a:gd name="connsiteX17" fmla="*/ 87706 w 123825"/>
                <a:gd name="connsiteY17" fmla="*/ 169374 h 190500"/>
                <a:gd name="connsiteX18" fmla="*/ 97365 w 123825"/>
                <a:gd name="connsiteY18" fmla="*/ 162058 h 190500"/>
                <a:gd name="connsiteX19" fmla="*/ 97365 w 123825"/>
                <a:gd name="connsiteY19" fmla="*/ 9023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825" h="190500">
                  <a:moveTo>
                    <a:pt x="97365" y="189624"/>
                  </a:moveTo>
                  <a:lnTo>
                    <a:pt x="97365" y="180070"/>
                  </a:lnTo>
                  <a:cubicBezTo>
                    <a:pt x="89306" y="188052"/>
                    <a:pt x="77591" y="192043"/>
                    <a:pt x="62208" y="192043"/>
                  </a:cubicBezTo>
                  <a:cubicBezTo>
                    <a:pt x="45854" y="192043"/>
                    <a:pt x="32576" y="186242"/>
                    <a:pt x="22413" y="174631"/>
                  </a:cubicBezTo>
                  <a:cubicBezTo>
                    <a:pt x="12230" y="163020"/>
                    <a:pt x="7144" y="147542"/>
                    <a:pt x="7144" y="128197"/>
                  </a:cubicBezTo>
                  <a:cubicBezTo>
                    <a:pt x="7144" y="108775"/>
                    <a:pt x="13002" y="92183"/>
                    <a:pt x="24727" y="78429"/>
                  </a:cubicBezTo>
                  <a:cubicBezTo>
                    <a:pt x="36443" y="64694"/>
                    <a:pt x="50407" y="57817"/>
                    <a:pt x="66608" y="57817"/>
                  </a:cubicBezTo>
                  <a:cubicBezTo>
                    <a:pt x="80115" y="57817"/>
                    <a:pt x="90364" y="60960"/>
                    <a:pt x="97374" y="67246"/>
                  </a:cubicBezTo>
                  <a:lnTo>
                    <a:pt x="97374" y="7144"/>
                  </a:lnTo>
                  <a:lnTo>
                    <a:pt x="120568" y="7144"/>
                  </a:lnTo>
                  <a:lnTo>
                    <a:pt x="120568" y="189614"/>
                  </a:lnTo>
                  <a:lnTo>
                    <a:pt x="97365" y="189614"/>
                  </a:lnTo>
                  <a:close/>
                  <a:moveTo>
                    <a:pt x="97365" y="90230"/>
                  </a:moveTo>
                  <a:cubicBezTo>
                    <a:pt x="91507" y="81525"/>
                    <a:pt x="83487" y="77172"/>
                    <a:pt x="73305" y="77172"/>
                  </a:cubicBezTo>
                  <a:cubicBezTo>
                    <a:pt x="60855" y="77172"/>
                    <a:pt x="50787" y="81763"/>
                    <a:pt x="43091" y="90954"/>
                  </a:cubicBezTo>
                  <a:cubicBezTo>
                    <a:pt x="35405" y="100146"/>
                    <a:pt x="31547" y="111824"/>
                    <a:pt x="31547" y="126025"/>
                  </a:cubicBezTo>
                  <a:cubicBezTo>
                    <a:pt x="31547" y="157220"/>
                    <a:pt x="45882" y="172822"/>
                    <a:pt x="74524" y="172822"/>
                  </a:cubicBezTo>
                  <a:cubicBezTo>
                    <a:pt x="78181" y="172822"/>
                    <a:pt x="82582" y="171679"/>
                    <a:pt x="87706" y="169374"/>
                  </a:cubicBezTo>
                  <a:cubicBezTo>
                    <a:pt x="92831" y="167088"/>
                    <a:pt x="96050" y="164649"/>
                    <a:pt x="97365" y="162058"/>
                  </a:cubicBezTo>
                  <a:lnTo>
                    <a:pt x="97365" y="9023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530E22A0-9583-4150-89B3-CED9626A10FC}"/>
                </a:ext>
              </a:extLst>
            </p:cNvPr>
            <p:cNvSpPr/>
            <p:nvPr/>
          </p:nvSpPr>
          <p:spPr>
            <a:xfrm>
              <a:off x="6043072" y="3649120"/>
              <a:ext cx="85725" cy="142875"/>
            </a:xfrm>
            <a:custGeom>
              <a:avLst/>
              <a:gdLst>
                <a:gd name="connsiteX0" fmla="*/ 76362 w 85725"/>
                <a:gd name="connsiteY0" fmla="*/ 31690 h 142875"/>
                <a:gd name="connsiteX1" fmla="*/ 61103 w 85725"/>
                <a:gd name="connsiteY1" fmla="*/ 26489 h 142875"/>
                <a:gd name="connsiteX2" fmla="*/ 39557 w 85725"/>
                <a:gd name="connsiteY2" fmla="*/ 37738 h 142875"/>
                <a:gd name="connsiteX3" fmla="*/ 30337 w 85725"/>
                <a:gd name="connsiteY3" fmla="*/ 64827 h 142875"/>
                <a:gd name="connsiteX4" fmla="*/ 30337 w 85725"/>
                <a:gd name="connsiteY4" fmla="*/ 139075 h 142875"/>
                <a:gd name="connsiteX5" fmla="*/ 7144 w 85725"/>
                <a:gd name="connsiteY5" fmla="*/ 139075 h 142875"/>
                <a:gd name="connsiteX6" fmla="*/ 7144 w 85725"/>
                <a:gd name="connsiteY6" fmla="*/ 9563 h 142875"/>
                <a:gd name="connsiteX7" fmla="*/ 30337 w 85725"/>
                <a:gd name="connsiteY7" fmla="*/ 9563 h 142875"/>
                <a:gd name="connsiteX8" fmla="*/ 30337 w 85725"/>
                <a:gd name="connsiteY8" fmla="*/ 30242 h 142875"/>
                <a:gd name="connsiteX9" fmla="*/ 68056 w 85725"/>
                <a:gd name="connsiteY9" fmla="*/ 7144 h 142875"/>
                <a:gd name="connsiteX10" fmla="*/ 86001 w 85725"/>
                <a:gd name="connsiteY10" fmla="*/ 9325 h 142875"/>
                <a:gd name="connsiteX11" fmla="*/ 76362 w 85725"/>
                <a:gd name="connsiteY11" fmla="*/ 3169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142875">
                  <a:moveTo>
                    <a:pt x="76362" y="31690"/>
                  </a:moveTo>
                  <a:cubicBezTo>
                    <a:pt x="71323" y="28223"/>
                    <a:pt x="66227" y="26489"/>
                    <a:pt x="61103" y="26489"/>
                  </a:cubicBezTo>
                  <a:cubicBezTo>
                    <a:pt x="52883" y="26489"/>
                    <a:pt x="45701" y="30242"/>
                    <a:pt x="39557" y="37738"/>
                  </a:cubicBezTo>
                  <a:cubicBezTo>
                    <a:pt x="33404" y="45234"/>
                    <a:pt x="30337" y="54264"/>
                    <a:pt x="30337" y="64827"/>
                  </a:cubicBezTo>
                  <a:lnTo>
                    <a:pt x="30337" y="139075"/>
                  </a:lnTo>
                  <a:lnTo>
                    <a:pt x="7144" y="139075"/>
                  </a:lnTo>
                  <a:lnTo>
                    <a:pt x="7144" y="9563"/>
                  </a:lnTo>
                  <a:lnTo>
                    <a:pt x="30337" y="9563"/>
                  </a:lnTo>
                  <a:lnTo>
                    <a:pt x="30337" y="30242"/>
                  </a:lnTo>
                  <a:cubicBezTo>
                    <a:pt x="38795" y="14849"/>
                    <a:pt x="51368" y="7144"/>
                    <a:pt x="68056" y="7144"/>
                  </a:cubicBezTo>
                  <a:cubicBezTo>
                    <a:pt x="72209" y="7144"/>
                    <a:pt x="78191" y="7868"/>
                    <a:pt x="86001" y="9325"/>
                  </a:cubicBezTo>
                  <a:lnTo>
                    <a:pt x="76362" y="3169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EF9CBD14-2F10-4512-AE15-AF56DAB8AD78}"/>
                </a:ext>
              </a:extLst>
            </p:cNvPr>
            <p:cNvSpPr/>
            <p:nvPr/>
          </p:nvSpPr>
          <p:spPr>
            <a:xfrm>
              <a:off x="6199206" y="3602562"/>
              <a:ext cx="57150" cy="190500"/>
            </a:xfrm>
            <a:custGeom>
              <a:avLst/>
              <a:gdLst>
                <a:gd name="connsiteX0" fmla="*/ 25089 w 57150"/>
                <a:gd name="connsiteY0" fmla="*/ 185633 h 190500"/>
                <a:gd name="connsiteX1" fmla="*/ 25089 w 57150"/>
                <a:gd name="connsiteY1" fmla="*/ 75466 h 190500"/>
                <a:gd name="connsiteX2" fmla="*/ 7144 w 57150"/>
                <a:gd name="connsiteY2" fmla="*/ 75466 h 190500"/>
                <a:gd name="connsiteX3" fmla="*/ 7144 w 57150"/>
                <a:gd name="connsiteY3" fmla="*/ 56121 h 190500"/>
                <a:gd name="connsiteX4" fmla="*/ 48282 w 57150"/>
                <a:gd name="connsiteY4" fmla="*/ 56121 h 190500"/>
                <a:gd name="connsiteX5" fmla="*/ 48282 w 57150"/>
                <a:gd name="connsiteY5" fmla="*/ 185633 h 190500"/>
                <a:gd name="connsiteX6" fmla="*/ 25089 w 57150"/>
                <a:gd name="connsiteY6" fmla="*/ 185633 h 190500"/>
                <a:gd name="connsiteX7" fmla="*/ 37785 w 57150"/>
                <a:gd name="connsiteY7" fmla="*/ 7144 h 190500"/>
                <a:gd name="connsiteX8" fmla="*/ 47977 w 57150"/>
                <a:gd name="connsiteY8" fmla="*/ 11316 h 190500"/>
                <a:gd name="connsiteX9" fmla="*/ 52197 w 57150"/>
                <a:gd name="connsiteY9" fmla="*/ 21288 h 190500"/>
                <a:gd name="connsiteX10" fmla="*/ 47977 w 57150"/>
                <a:gd name="connsiteY10" fmla="*/ 31394 h 190500"/>
                <a:gd name="connsiteX11" fmla="*/ 37785 w 57150"/>
                <a:gd name="connsiteY11" fmla="*/ 35566 h 190500"/>
                <a:gd name="connsiteX12" fmla="*/ 27708 w 57150"/>
                <a:gd name="connsiteY12" fmla="*/ 31394 h 190500"/>
                <a:gd name="connsiteX13" fmla="*/ 23498 w 57150"/>
                <a:gd name="connsiteY13" fmla="*/ 21288 h 190500"/>
                <a:gd name="connsiteX14" fmla="*/ 27651 w 57150"/>
                <a:gd name="connsiteY14" fmla="*/ 11249 h 190500"/>
                <a:gd name="connsiteX15" fmla="*/ 37785 w 57150"/>
                <a:gd name="connsiteY15" fmla="*/ 7144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90500">
                  <a:moveTo>
                    <a:pt x="25089" y="185633"/>
                  </a:moveTo>
                  <a:lnTo>
                    <a:pt x="25089" y="75466"/>
                  </a:lnTo>
                  <a:lnTo>
                    <a:pt x="7144" y="75466"/>
                  </a:lnTo>
                  <a:lnTo>
                    <a:pt x="7144" y="56121"/>
                  </a:lnTo>
                  <a:lnTo>
                    <a:pt x="48282" y="56121"/>
                  </a:lnTo>
                  <a:lnTo>
                    <a:pt x="48282" y="185633"/>
                  </a:lnTo>
                  <a:lnTo>
                    <a:pt x="25089" y="185633"/>
                  </a:lnTo>
                  <a:close/>
                  <a:moveTo>
                    <a:pt x="37785" y="7144"/>
                  </a:moveTo>
                  <a:cubicBezTo>
                    <a:pt x="41777" y="7144"/>
                    <a:pt x="45177" y="8534"/>
                    <a:pt x="47977" y="11316"/>
                  </a:cubicBezTo>
                  <a:cubicBezTo>
                    <a:pt x="50797" y="14087"/>
                    <a:pt x="52197" y="17421"/>
                    <a:pt x="52197" y="21288"/>
                  </a:cubicBezTo>
                  <a:cubicBezTo>
                    <a:pt x="52197" y="25232"/>
                    <a:pt x="50797" y="28603"/>
                    <a:pt x="47977" y="31394"/>
                  </a:cubicBezTo>
                  <a:cubicBezTo>
                    <a:pt x="45177" y="34166"/>
                    <a:pt x="41777" y="35566"/>
                    <a:pt x="37785" y="35566"/>
                  </a:cubicBezTo>
                  <a:cubicBezTo>
                    <a:pt x="33880" y="35566"/>
                    <a:pt x="30527" y="34176"/>
                    <a:pt x="27708" y="31394"/>
                  </a:cubicBezTo>
                  <a:cubicBezTo>
                    <a:pt x="24908" y="28603"/>
                    <a:pt x="23498" y="25241"/>
                    <a:pt x="23498" y="21288"/>
                  </a:cubicBezTo>
                  <a:cubicBezTo>
                    <a:pt x="23498" y="17335"/>
                    <a:pt x="24879" y="13992"/>
                    <a:pt x="27651" y="11249"/>
                  </a:cubicBezTo>
                  <a:cubicBezTo>
                    <a:pt x="30423" y="8515"/>
                    <a:pt x="33794" y="7144"/>
                    <a:pt x="37785" y="7144"/>
                  </a:cubicBez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E8C840D5-B804-4B87-B743-3F918F8E502C}"/>
                </a:ext>
              </a:extLst>
            </p:cNvPr>
            <p:cNvSpPr/>
            <p:nvPr/>
          </p:nvSpPr>
          <p:spPr>
            <a:xfrm>
              <a:off x="6337404" y="3598447"/>
              <a:ext cx="123825" cy="190500"/>
            </a:xfrm>
            <a:custGeom>
              <a:avLst/>
              <a:gdLst>
                <a:gd name="connsiteX0" fmla="*/ 97355 w 123825"/>
                <a:gd name="connsiteY0" fmla="*/ 189624 h 190500"/>
                <a:gd name="connsiteX1" fmla="*/ 97355 w 123825"/>
                <a:gd name="connsiteY1" fmla="*/ 180070 h 190500"/>
                <a:gd name="connsiteX2" fmla="*/ 62199 w 123825"/>
                <a:gd name="connsiteY2" fmla="*/ 192043 h 190500"/>
                <a:gd name="connsiteX3" fmla="*/ 22403 w 123825"/>
                <a:gd name="connsiteY3" fmla="*/ 174631 h 190500"/>
                <a:gd name="connsiteX4" fmla="*/ 7144 w 123825"/>
                <a:gd name="connsiteY4" fmla="*/ 128197 h 190500"/>
                <a:gd name="connsiteX5" fmla="*/ 24727 w 123825"/>
                <a:gd name="connsiteY5" fmla="*/ 78429 h 190500"/>
                <a:gd name="connsiteX6" fmla="*/ 66599 w 123825"/>
                <a:gd name="connsiteY6" fmla="*/ 57817 h 190500"/>
                <a:gd name="connsiteX7" fmla="*/ 97365 w 123825"/>
                <a:gd name="connsiteY7" fmla="*/ 67246 h 190500"/>
                <a:gd name="connsiteX8" fmla="*/ 97365 w 123825"/>
                <a:gd name="connsiteY8" fmla="*/ 7144 h 190500"/>
                <a:gd name="connsiteX9" fmla="*/ 120558 w 123825"/>
                <a:gd name="connsiteY9" fmla="*/ 7144 h 190500"/>
                <a:gd name="connsiteX10" fmla="*/ 120558 w 123825"/>
                <a:gd name="connsiteY10" fmla="*/ 189614 h 190500"/>
                <a:gd name="connsiteX11" fmla="*/ 97355 w 123825"/>
                <a:gd name="connsiteY11" fmla="*/ 189614 h 190500"/>
                <a:gd name="connsiteX12" fmla="*/ 97355 w 123825"/>
                <a:gd name="connsiteY12" fmla="*/ 90230 h 190500"/>
                <a:gd name="connsiteX13" fmla="*/ 73305 w 123825"/>
                <a:gd name="connsiteY13" fmla="*/ 77172 h 190500"/>
                <a:gd name="connsiteX14" fmla="*/ 43091 w 123825"/>
                <a:gd name="connsiteY14" fmla="*/ 90954 h 190500"/>
                <a:gd name="connsiteX15" fmla="*/ 31547 w 123825"/>
                <a:gd name="connsiteY15" fmla="*/ 126025 h 190500"/>
                <a:gd name="connsiteX16" fmla="*/ 74524 w 123825"/>
                <a:gd name="connsiteY16" fmla="*/ 172822 h 190500"/>
                <a:gd name="connsiteX17" fmla="*/ 87706 w 123825"/>
                <a:gd name="connsiteY17" fmla="*/ 169374 h 190500"/>
                <a:gd name="connsiteX18" fmla="*/ 97355 w 123825"/>
                <a:gd name="connsiteY18" fmla="*/ 162058 h 190500"/>
                <a:gd name="connsiteX19" fmla="*/ 97355 w 123825"/>
                <a:gd name="connsiteY19" fmla="*/ 9023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825" h="190500">
                  <a:moveTo>
                    <a:pt x="97355" y="189624"/>
                  </a:moveTo>
                  <a:lnTo>
                    <a:pt x="97355" y="180070"/>
                  </a:lnTo>
                  <a:cubicBezTo>
                    <a:pt x="89297" y="188052"/>
                    <a:pt x="77581" y="192043"/>
                    <a:pt x="62199" y="192043"/>
                  </a:cubicBezTo>
                  <a:cubicBezTo>
                    <a:pt x="45844" y="192043"/>
                    <a:pt x="32566" y="186242"/>
                    <a:pt x="22403" y="174631"/>
                  </a:cubicBezTo>
                  <a:cubicBezTo>
                    <a:pt x="12240" y="163020"/>
                    <a:pt x="7144" y="147542"/>
                    <a:pt x="7144" y="128197"/>
                  </a:cubicBezTo>
                  <a:cubicBezTo>
                    <a:pt x="7144" y="108775"/>
                    <a:pt x="13002" y="92183"/>
                    <a:pt x="24727" y="78429"/>
                  </a:cubicBezTo>
                  <a:cubicBezTo>
                    <a:pt x="36443" y="64694"/>
                    <a:pt x="50397" y="57817"/>
                    <a:pt x="66599" y="57817"/>
                  </a:cubicBezTo>
                  <a:cubicBezTo>
                    <a:pt x="80115" y="57817"/>
                    <a:pt x="90364" y="60960"/>
                    <a:pt x="97365" y="67246"/>
                  </a:cubicBezTo>
                  <a:lnTo>
                    <a:pt x="97365" y="7144"/>
                  </a:lnTo>
                  <a:lnTo>
                    <a:pt x="120558" y="7144"/>
                  </a:lnTo>
                  <a:lnTo>
                    <a:pt x="120558" y="189614"/>
                  </a:lnTo>
                  <a:lnTo>
                    <a:pt x="97355" y="189614"/>
                  </a:lnTo>
                  <a:close/>
                  <a:moveTo>
                    <a:pt x="97355" y="90230"/>
                  </a:moveTo>
                  <a:cubicBezTo>
                    <a:pt x="91497" y="81525"/>
                    <a:pt x="83477" y="77172"/>
                    <a:pt x="73305" y="77172"/>
                  </a:cubicBezTo>
                  <a:cubicBezTo>
                    <a:pt x="60855" y="77172"/>
                    <a:pt x="50778" y="81763"/>
                    <a:pt x="43091" y="90954"/>
                  </a:cubicBezTo>
                  <a:cubicBezTo>
                    <a:pt x="35395" y="100146"/>
                    <a:pt x="31547" y="111824"/>
                    <a:pt x="31547" y="126025"/>
                  </a:cubicBezTo>
                  <a:cubicBezTo>
                    <a:pt x="31547" y="157220"/>
                    <a:pt x="45872" y="172822"/>
                    <a:pt x="74524" y="172822"/>
                  </a:cubicBezTo>
                  <a:cubicBezTo>
                    <a:pt x="78181" y="172822"/>
                    <a:pt x="82582" y="171679"/>
                    <a:pt x="87706" y="169374"/>
                  </a:cubicBezTo>
                  <a:cubicBezTo>
                    <a:pt x="92831" y="167088"/>
                    <a:pt x="96050" y="164649"/>
                    <a:pt x="97355" y="162058"/>
                  </a:cubicBezTo>
                  <a:lnTo>
                    <a:pt x="97355" y="90230"/>
                  </a:lnTo>
                  <a:close/>
                </a:path>
              </a:pathLst>
            </a:custGeom>
            <a:solidFill>
              <a:srgbClr val="22A138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1296E9EE-1918-4E0A-9F01-F0A93C949143}"/>
                </a:ext>
              </a:extLst>
            </p:cNvPr>
            <p:cNvSpPr/>
            <p:nvPr/>
          </p:nvSpPr>
          <p:spPr>
            <a:xfrm>
              <a:off x="2428087" y="3174813"/>
              <a:ext cx="161925" cy="238125"/>
            </a:xfrm>
            <a:custGeom>
              <a:avLst/>
              <a:gdLst>
                <a:gd name="connsiteX0" fmla="*/ 7144 w 161925"/>
                <a:gd name="connsiteY0" fmla="*/ 217989 h 238125"/>
                <a:gd name="connsiteX1" fmla="*/ 21717 w 161925"/>
                <a:gd name="connsiteY1" fmla="*/ 181032 h 238125"/>
                <a:gd name="connsiteX2" fmla="*/ 77400 w 161925"/>
                <a:gd name="connsiteY2" fmla="*/ 202378 h 238125"/>
                <a:gd name="connsiteX3" fmla="*/ 115691 w 161925"/>
                <a:gd name="connsiteY3" fmla="*/ 172002 h 238125"/>
                <a:gd name="connsiteX4" fmla="*/ 78715 w 161925"/>
                <a:gd name="connsiteY4" fmla="*/ 134636 h 238125"/>
                <a:gd name="connsiteX5" fmla="*/ 40319 w 161925"/>
                <a:gd name="connsiteY5" fmla="*/ 115957 h 238125"/>
                <a:gd name="connsiteX6" fmla="*/ 23136 w 161925"/>
                <a:gd name="connsiteY6" fmla="*/ 101479 h 238125"/>
                <a:gd name="connsiteX7" fmla="*/ 12259 w 161925"/>
                <a:gd name="connsiteY7" fmla="*/ 84230 h 238125"/>
                <a:gd name="connsiteX8" fmla="*/ 8677 w 161925"/>
                <a:gd name="connsiteY8" fmla="*/ 64627 h 238125"/>
                <a:gd name="connsiteX9" fmla="*/ 29556 w 161925"/>
                <a:gd name="connsiteY9" fmla="*/ 22346 h 238125"/>
                <a:gd name="connsiteX10" fmla="*/ 84153 w 161925"/>
                <a:gd name="connsiteY10" fmla="*/ 7144 h 238125"/>
                <a:gd name="connsiteX11" fmla="*/ 148323 w 161925"/>
                <a:gd name="connsiteY11" fmla="*/ 22346 h 238125"/>
                <a:gd name="connsiteX12" fmla="*/ 136579 w 161925"/>
                <a:gd name="connsiteY12" fmla="*/ 58474 h 238125"/>
                <a:gd name="connsiteX13" fmla="*/ 87201 w 161925"/>
                <a:gd name="connsiteY13" fmla="*/ 40005 h 238125"/>
                <a:gd name="connsiteX14" fmla="*/ 62293 w 161925"/>
                <a:gd name="connsiteY14" fmla="*/ 46568 h 238125"/>
                <a:gd name="connsiteX15" fmla="*/ 52178 w 161925"/>
                <a:gd name="connsiteY15" fmla="*/ 63189 h 238125"/>
                <a:gd name="connsiteX16" fmla="*/ 77629 w 161925"/>
                <a:gd name="connsiteY16" fmla="*/ 95212 h 238125"/>
                <a:gd name="connsiteX17" fmla="*/ 107213 w 161925"/>
                <a:gd name="connsiteY17" fmla="*/ 107937 h 238125"/>
                <a:gd name="connsiteX18" fmla="*/ 146799 w 161925"/>
                <a:gd name="connsiteY18" fmla="*/ 134626 h 238125"/>
                <a:gd name="connsiteX19" fmla="*/ 159201 w 161925"/>
                <a:gd name="connsiteY19" fmla="*/ 172193 h 238125"/>
                <a:gd name="connsiteX20" fmla="*/ 137227 w 161925"/>
                <a:gd name="connsiteY20" fmla="*/ 218484 h 238125"/>
                <a:gd name="connsiteX21" fmla="*/ 76314 w 161925"/>
                <a:gd name="connsiteY21" fmla="*/ 235210 h 238125"/>
                <a:gd name="connsiteX22" fmla="*/ 7144 w 161925"/>
                <a:gd name="connsiteY22" fmla="*/ 21798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925" h="238125">
                  <a:moveTo>
                    <a:pt x="7144" y="217989"/>
                  </a:moveTo>
                  <a:lnTo>
                    <a:pt x="21717" y="181032"/>
                  </a:lnTo>
                  <a:cubicBezTo>
                    <a:pt x="44777" y="195263"/>
                    <a:pt x="63341" y="202378"/>
                    <a:pt x="77400" y="202378"/>
                  </a:cubicBezTo>
                  <a:cubicBezTo>
                    <a:pt x="102927" y="202378"/>
                    <a:pt x="115691" y="192253"/>
                    <a:pt x="115691" y="172002"/>
                  </a:cubicBezTo>
                  <a:cubicBezTo>
                    <a:pt x="115691" y="157505"/>
                    <a:pt x="103365" y="145047"/>
                    <a:pt x="78715" y="134636"/>
                  </a:cubicBezTo>
                  <a:cubicBezTo>
                    <a:pt x="59712" y="126435"/>
                    <a:pt x="46920" y="120196"/>
                    <a:pt x="40319" y="115957"/>
                  </a:cubicBezTo>
                  <a:cubicBezTo>
                    <a:pt x="33718" y="111719"/>
                    <a:pt x="27994" y="106899"/>
                    <a:pt x="23136" y="101479"/>
                  </a:cubicBezTo>
                  <a:cubicBezTo>
                    <a:pt x="18278" y="96079"/>
                    <a:pt x="14649" y="90326"/>
                    <a:pt x="12259" y="84230"/>
                  </a:cubicBezTo>
                  <a:cubicBezTo>
                    <a:pt x="9868" y="78143"/>
                    <a:pt x="8677" y="71609"/>
                    <a:pt x="8677" y="64627"/>
                  </a:cubicBezTo>
                  <a:cubicBezTo>
                    <a:pt x="8677" y="46568"/>
                    <a:pt x="15631" y="32471"/>
                    <a:pt x="29556" y="22346"/>
                  </a:cubicBezTo>
                  <a:cubicBezTo>
                    <a:pt x="43472" y="12221"/>
                    <a:pt x="61674" y="7144"/>
                    <a:pt x="84153" y="7144"/>
                  </a:cubicBezTo>
                  <a:cubicBezTo>
                    <a:pt x="101117" y="7144"/>
                    <a:pt x="122511" y="12211"/>
                    <a:pt x="148323" y="22346"/>
                  </a:cubicBezTo>
                  <a:lnTo>
                    <a:pt x="136579" y="58474"/>
                  </a:lnTo>
                  <a:cubicBezTo>
                    <a:pt x="120186" y="46158"/>
                    <a:pt x="103737" y="40005"/>
                    <a:pt x="87201" y="40005"/>
                  </a:cubicBezTo>
                  <a:cubicBezTo>
                    <a:pt x="77333" y="40005"/>
                    <a:pt x="69037" y="42186"/>
                    <a:pt x="62293" y="46568"/>
                  </a:cubicBezTo>
                  <a:cubicBezTo>
                    <a:pt x="55550" y="50949"/>
                    <a:pt x="52178" y="56493"/>
                    <a:pt x="52178" y="63189"/>
                  </a:cubicBezTo>
                  <a:cubicBezTo>
                    <a:pt x="52178" y="77286"/>
                    <a:pt x="60665" y="87963"/>
                    <a:pt x="77629" y="95212"/>
                  </a:cubicBezTo>
                  <a:lnTo>
                    <a:pt x="107213" y="107937"/>
                  </a:lnTo>
                  <a:cubicBezTo>
                    <a:pt x="125339" y="115738"/>
                    <a:pt x="138541" y="124644"/>
                    <a:pt x="146799" y="134626"/>
                  </a:cubicBezTo>
                  <a:cubicBezTo>
                    <a:pt x="155067" y="144628"/>
                    <a:pt x="159201" y="157143"/>
                    <a:pt x="159201" y="172193"/>
                  </a:cubicBezTo>
                  <a:cubicBezTo>
                    <a:pt x="159201" y="191900"/>
                    <a:pt x="151876" y="207331"/>
                    <a:pt x="137227" y="218484"/>
                  </a:cubicBezTo>
                  <a:cubicBezTo>
                    <a:pt x="122577" y="229638"/>
                    <a:pt x="102279" y="235210"/>
                    <a:pt x="76314" y="235210"/>
                  </a:cubicBezTo>
                  <a:cubicBezTo>
                    <a:pt x="51816" y="235229"/>
                    <a:pt x="28756" y="229476"/>
                    <a:pt x="7144" y="217989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940358D1-302A-4428-A544-EBDDC5A07249}"/>
                </a:ext>
              </a:extLst>
            </p:cNvPr>
            <p:cNvSpPr/>
            <p:nvPr/>
          </p:nvSpPr>
          <p:spPr>
            <a:xfrm>
              <a:off x="2614139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2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2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7557BEC3-C7CA-4FAE-B724-BD0460256CBB}"/>
                </a:ext>
              </a:extLst>
            </p:cNvPr>
            <p:cNvSpPr/>
            <p:nvPr/>
          </p:nvSpPr>
          <p:spPr>
            <a:xfrm>
              <a:off x="2808878" y="3174823"/>
              <a:ext cx="152400" cy="238125"/>
            </a:xfrm>
            <a:custGeom>
              <a:avLst/>
              <a:gdLst>
                <a:gd name="connsiteX0" fmla="*/ 130483 w 152400"/>
                <a:gd name="connsiteY0" fmla="*/ 48816 h 238125"/>
                <a:gd name="connsiteX1" fmla="*/ 103299 w 152400"/>
                <a:gd name="connsiteY1" fmla="*/ 39995 h 238125"/>
                <a:gd name="connsiteX2" fmla="*/ 64903 w 152400"/>
                <a:gd name="connsiteY2" fmla="*/ 59083 h 238125"/>
                <a:gd name="connsiteX3" fmla="*/ 48473 w 152400"/>
                <a:gd name="connsiteY3" fmla="*/ 105061 h 238125"/>
                <a:gd name="connsiteX4" fmla="*/ 48473 w 152400"/>
                <a:gd name="connsiteY4" fmla="*/ 231105 h 238125"/>
                <a:gd name="connsiteX5" fmla="*/ 7144 w 152400"/>
                <a:gd name="connsiteY5" fmla="*/ 231105 h 238125"/>
                <a:gd name="connsiteX6" fmla="*/ 7144 w 152400"/>
                <a:gd name="connsiteY6" fmla="*/ 11249 h 238125"/>
                <a:gd name="connsiteX7" fmla="*/ 48473 w 152400"/>
                <a:gd name="connsiteY7" fmla="*/ 11249 h 238125"/>
                <a:gd name="connsiteX8" fmla="*/ 48473 w 152400"/>
                <a:gd name="connsiteY8" fmla="*/ 46358 h 238125"/>
                <a:gd name="connsiteX9" fmla="*/ 115691 w 152400"/>
                <a:gd name="connsiteY9" fmla="*/ 7144 h 238125"/>
                <a:gd name="connsiteX10" fmla="*/ 147666 w 152400"/>
                <a:gd name="connsiteY10" fmla="*/ 10849 h 238125"/>
                <a:gd name="connsiteX11" fmla="*/ 130483 w 152400"/>
                <a:gd name="connsiteY11" fmla="*/ 48816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238125">
                  <a:moveTo>
                    <a:pt x="130483" y="48816"/>
                  </a:moveTo>
                  <a:cubicBezTo>
                    <a:pt x="121491" y="42939"/>
                    <a:pt x="112424" y="39995"/>
                    <a:pt x="103299" y="39995"/>
                  </a:cubicBezTo>
                  <a:cubicBezTo>
                    <a:pt x="88649" y="39995"/>
                    <a:pt x="75848" y="46358"/>
                    <a:pt x="64903" y="59083"/>
                  </a:cubicBezTo>
                  <a:cubicBezTo>
                    <a:pt x="53950" y="71809"/>
                    <a:pt x="48473" y="87135"/>
                    <a:pt x="48473" y="105061"/>
                  </a:cubicBezTo>
                  <a:lnTo>
                    <a:pt x="48473" y="231105"/>
                  </a:lnTo>
                  <a:lnTo>
                    <a:pt x="7144" y="231105"/>
                  </a:lnTo>
                  <a:lnTo>
                    <a:pt x="7144" y="11249"/>
                  </a:lnTo>
                  <a:lnTo>
                    <a:pt x="48473" y="11249"/>
                  </a:lnTo>
                  <a:lnTo>
                    <a:pt x="48473" y="46358"/>
                  </a:lnTo>
                  <a:cubicBezTo>
                    <a:pt x="63551" y="20221"/>
                    <a:pt x="85963" y="7144"/>
                    <a:pt x="115691" y="7144"/>
                  </a:cubicBezTo>
                  <a:cubicBezTo>
                    <a:pt x="123082" y="7144"/>
                    <a:pt x="133750" y="8382"/>
                    <a:pt x="147666" y="10849"/>
                  </a:cubicBezTo>
                  <a:lnTo>
                    <a:pt x="130483" y="4881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9CE7BF76-40A3-4F9B-9C17-107416A3DEF0}"/>
                </a:ext>
              </a:extLst>
            </p:cNvPr>
            <p:cNvSpPr/>
            <p:nvPr/>
          </p:nvSpPr>
          <p:spPr>
            <a:xfrm>
              <a:off x="2969488" y="3174813"/>
              <a:ext cx="209550" cy="238125"/>
            </a:xfrm>
            <a:custGeom>
              <a:avLst/>
              <a:gdLst>
                <a:gd name="connsiteX0" fmla="*/ 150705 w 209550"/>
                <a:gd name="connsiteY0" fmla="*/ 205873 h 238125"/>
                <a:gd name="connsiteX1" fmla="*/ 74790 w 209550"/>
                <a:gd name="connsiteY1" fmla="*/ 235229 h 238125"/>
                <a:gd name="connsiteX2" fmla="*/ 27261 w 209550"/>
                <a:gd name="connsiteY2" fmla="*/ 216446 h 238125"/>
                <a:gd name="connsiteX3" fmla="*/ 7144 w 209550"/>
                <a:gd name="connsiteY3" fmla="*/ 169745 h 238125"/>
                <a:gd name="connsiteX4" fmla="*/ 38138 w 209550"/>
                <a:gd name="connsiteY4" fmla="*/ 113186 h 238125"/>
                <a:gd name="connsiteX5" fmla="*/ 117205 w 209550"/>
                <a:gd name="connsiteY5" fmla="*/ 90088 h 238125"/>
                <a:gd name="connsiteX6" fmla="*/ 146790 w 209550"/>
                <a:gd name="connsiteY6" fmla="*/ 95431 h 238125"/>
                <a:gd name="connsiteX7" fmla="*/ 96326 w 209550"/>
                <a:gd name="connsiteY7" fmla="*/ 42053 h 238125"/>
                <a:gd name="connsiteX8" fmla="*/ 36728 w 209550"/>
                <a:gd name="connsiteY8" fmla="*/ 61760 h 238125"/>
                <a:gd name="connsiteX9" fmla="*/ 19326 w 209550"/>
                <a:gd name="connsiteY9" fmla="*/ 29118 h 238125"/>
                <a:gd name="connsiteX10" fmla="*/ 51845 w 209550"/>
                <a:gd name="connsiteY10" fmla="*/ 13621 h 238125"/>
                <a:gd name="connsiteX11" fmla="*/ 91545 w 209550"/>
                <a:gd name="connsiteY11" fmla="*/ 7144 h 238125"/>
                <a:gd name="connsiteX12" fmla="*/ 165173 w 209550"/>
                <a:gd name="connsiteY12" fmla="*/ 28908 h 238125"/>
                <a:gd name="connsiteX13" fmla="*/ 188128 w 209550"/>
                <a:gd name="connsiteY13" fmla="*/ 98088 h 238125"/>
                <a:gd name="connsiteX14" fmla="*/ 188128 w 209550"/>
                <a:gd name="connsiteY14" fmla="*/ 176917 h 238125"/>
                <a:gd name="connsiteX15" fmla="*/ 206397 w 209550"/>
                <a:gd name="connsiteY15" fmla="*/ 215513 h 238125"/>
                <a:gd name="connsiteX16" fmla="*/ 206397 w 209550"/>
                <a:gd name="connsiteY16" fmla="*/ 235010 h 238125"/>
                <a:gd name="connsiteX17" fmla="*/ 168659 w 209550"/>
                <a:gd name="connsiteY17" fmla="*/ 228238 h 238125"/>
                <a:gd name="connsiteX18" fmla="*/ 150705 w 209550"/>
                <a:gd name="connsiteY18" fmla="*/ 205873 h 238125"/>
                <a:gd name="connsiteX19" fmla="*/ 146790 w 209550"/>
                <a:gd name="connsiteY19" fmla="*/ 123149 h 238125"/>
                <a:gd name="connsiteX20" fmla="*/ 119386 w 209550"/>
                <a:gd name="connsiteY20" fmla="*/ 119034 h 238125"/>
                <a:gd name="connsiteX21" fmla="*/ 68266 w 209550"/>
                <a:gd name="connsiteY21" fmla="*/ 134226 h 238125"/>
                <a:gd name="connsiteX22" fmla="*/ 48473 w 209550"/>
                <a:gd name="connsiteY22" fmla="*/ 170145 h 238125"/>
                <a:gd name="connsiteX23" fmla="*/ 91326 w 209550"/>
                <a:gd name="connsiteY23" fmla="*/ 204435 h 238125"/>
                <a:gd name="connsiteX24" fmla="*/ 146799 w 209550"/>
                <a:gd name="connsiteY24" fmla="*/ 176317 h 238125"/>
                <a:gd name="connsiteX25" fmla="*/ 146799 w 209550"/>
                <a:gd name="connsiteY25" fmla="*/ 12314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550" h="238125">
                  <a:moveTo>
                    <a:pt x="150705" y="205873"/>
                  </a:moveTo>
                  <a:cubicBezTo>
                    <a:pt x="134169" y="225457"/>
                    <a:pt x="108861" y="235229"/>
                    <a:pt x="74790" y="235229"/>
                  </a:cubicBezTo>
                  <a:cubicBezTo>
                    <a:pt x="56521" y="235229"/>
                    <a:pt x="40672" y="228971"/>
                    <a:pt x="27261" y="216446"/>
                  </a:cubicBezTo>
                  <a:cubicBezTo>
                    <a:pt x="13849" y="203921"/>
                    <a:pt x="7144" y="188357"/>
                    <a:pt x="7144" y="169745"/>
                  </a:cubicBezTo>
                  <a:cubicBezTo>
                    <a:pt x="7144" y="147438"/>
                    <a:pt x="17469" y="128588"/>
                    <a:pt x="38138" y="113186"/>
                  </a:cubicBezTo>
                  <a:cubicBezTo>
                    <a:pt x="58798" y="97793"/>
                    <a:pt x="85163" y="90088"/>
                    <a:pt x="117205" y="90088"/>
                  </a:cubicBezTo>
                  <a:cubicBezTo>
                    <a:pt x="125911" y="90088"/>
                    <a:pt x="135769" y="91878"/>
                    <a:pt x="146790" y="95431"/>
                  </a:cubicBezTo>
                  <a:cubicBezTo>
                    <a:pt x="146790" y="59855"/>
                    <a:pt x="129959" y="42053"/>
                    <a:pt x="96326" y="42053"/>
                  </a:cubicBezTo>
                  <a:cubicBezTo>
                    <a:pt x="70514" y="42053"/>
                    <a:pt x="50644" y="48616"/>
                    <a:pt x="36728" y="61760"/>
                  </a:cubicBezTo>
                  <a:lnTo>
                    <a:pt x="19326" y="29118"/>
                  </a:lnTo>
                  <a:cubicBezTo>
                    <a:pt x="27156" y="23098"/>
                    <a:pt x="37995" y="17926"/>
                    <a:pt x="51845" y="13621"/>
                  </a:cubicBezTo>
                  <a:cubicBezTo>
                    <a:pt x="65694" y="9306"/>
                    <a:pt x="78924" y="7144"/>
                    <a:pt x="91545" y="7144"/>
                  </a:cubicBezTo>
                  <a:cubicBezTo>
                    <a:pt x="125330" y="7144"/>
                    <a:pt x="149876" y="14402"/>
                    <a:pt x="165173" y="28908"/>
                  </a:cubicBezTo>
                  <a:cubicBezTo>
                    <a:pt x="180470" y="43405"/>
                    <a:pt x="188128" y="66465"/>
                    <a:pt x="188128" y="98088"/>
                  </a:cubicBezTo>
                  <a:lnTo>
                    <a:pt x="188128" y="176917"/>
                  </a:lnTo>
                  <a:cubicBezTo>
                    <a:pt x="188128" y="196205"/>
                    <a:pt x="194215" y="209074"/>
                    <a:pt x="206397" y="215513"/>
                  </a:cubicBezTo>
                  <a:lnTo>
                    <a:pt x="206397" y="235010"/>
                  </a:lnTo>
                  <a:cubicBezTo>
                    <a:pt x="189576" y="235010"/>
                    <a:pt x="176994" y="232762"/>
                    <a:pt x="168659" y="228238"/>
                  </a:cubicBezTo>
                  <a:cubicBezTo>
                    <a:pt x="160315" y="223742"/>
                    <a:pt x="154334" y="216275"/>
                    <a:pt x="150705" y="205873"/>
                  </a:cubicBezTo>
                  <a:close/>
                  <a:moveTo>
                    <a:pt x="146790" y="123149"/>
                  </a:moveTo>
                  <a:cubicBezTo>
                    <a:pt x="133741" y="120406"/>
                    <a:pt x="124596" y="119034"/>
                    <a:pt x="119386" y="119034"/>
                  </a:cubicBezTo>
                  <a:cubicBezTo>
                    <a:pt x="98508" y="119034"/>
                    <a:pt x="81458" y="124101"/>
                    <a:pt x="68266" y="134226"/>
                  </a:cubicBezTo>
                  <a:cubicBezTo>
                    <a:pt x="55074" y="144351"/>
                    <a:pt x="48473" y="156334"/>
                    <a:pt x="48473" y="170145"/>
                  </a:cubicBezTo>
                  <a:cubicBezTo>
                    <a:pt x="48473" y="193005"/>
                    <a:pt x="62760" y="204435"/>
                    <a:pt x="91326" y="204435"/>
                  </a:cubicBezTo>
                  <a:cubicBezTo>
                    <a:pt x="112204" y="204435"/>
                    <a:pt x="130702" y="195063"/>
                    <a:pt x="146799" y="176317"/>
                  </a:cubicBezTo>
                  <a:lnTo>
                    <a:pt x="146799" y="123149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B246315D-379A-46AC-8B2A-DD098BD0DBF7}"/>
                </a:ext>
              </a:extLst>
            </p:cNvPr>
            <p:cNvSpPr/>
            <p:nvPr/>
          </p:nvSpPr>
          <p:spPr>
            <a:xfrm>
              <a:off x="3206003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3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3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2E966495-FF18-442B-9EE3-2AE1D61A8FEF}"/>
                </a:ext>
              </a:extLst>
            </p:cNvPr>
            <p:cNvSpPr/>
            <p:nvPr/>
          </p:nvSpPr>
          <p:spPr>
            <a:xfrm>
              <a:off x="3382273" y="3174823"/>
              <a:ext cx="228600" cy="238125"/>
            </a:xfrm>
            <a:custGeom>
              <a:avLst/>
              <a:gdLst>
                <a:gd name="connsiteX0" fmla="*/ 218570 w 228600"/>
                <a:gd name="connsiteY0" fmla="*/ 124977 h 238125"/>
                <a:gd name="connsiteX1" fmla="*/ 50635 w 228600"/>
                <a:gd name="connsiteY1" fmla="*/ 124977 h 238125"/>
                <a:gd name="connsiteX2" fmla="*/ 73047 w 228600"/>
                <a:gd name="connsiteY2" fmla="*/ 184309 h 238125"/>
                <a:gd name="connsiteX3" fmla="*/ 123949 w 228600"/>
                <a:gd name="connsiteY3" fmla="*/ 202368 h 238125"/>
                <a:gd name="connsiteX4" fmla="*/ 183118 w 228600"/>
                <a:gd name="connsiteY4" fmla="*/ 182870 h 238125"/>
                <a:gd name="connsiteX5" fmla="*/ 200520 w 228600"/>
                <a:gd name="connsiteY5" fmla="*/ 210988 h 238125"/>
                <a:gd name="connsiteX6" fmla="*/ 171155 w 228600"/>
                <a:gd name="connsiteY6" fmla="*/ 226590 h 238125"/>
                <a:gd name="connsiteX7" fmla="*/ 115900 w 228600"/>
                <a:gd name="connsiteY7" fmla="*/ 235210 h 238125"/>
                <a:gd name="connsiteX8" fmla="*/ 41291 w 228600"/>
                <a:gd name="connsiteY8" fmla="*/ 207092 h 238125"/>
                <a:gd name="connsiteX9" fmla="*/ 7144 w 228600"/>
                <a:gd name="connsiteY9" fmla="*/ 123749 h 238125"/>
                <a:gd name="connsiteX10" fmla="*/ 42167 w 228600"/>
                <a:gd name="connsiteY10" fmla="*/ 36500 h 238125"/>
                <a:gd name="connsiteX11" fmla="*/ 116348 w 228600"/>
                <a:gd name="connsiteY11" fmla="*/ 7144 h 238125"/>
                <a:gd name="connsiteX12" fmla="*/ 194443 w 228600"/>
                <a:gd name="connsiteY12" fmla="*/ 33623 h 238125"/>
                <a:gd name="connsiteX13" fmla="*/ 221856 w 228600"/>
                <a:gd name="connsiteY13" fmla="*/ 101165 h 238125"/>
                <a:gd name="connsiteX14" fmla="*/ 218570 w 228600"/>
                <a:gd name="connsiteY14" fmla="*/ 124977 h 238125"/>
                <a:gd name="connsiteX15" fmla="*/ 118281 w 228600"/>
                <a:gd name="connsiteY15" fmla="*/ 39995 h 238125"/>
                <a:gd name="connsiteX16" fmla="*/ 71952 w 228600"/>
                <a:gd name="connsiteY16" fmla="*/ 56826 h 238125"/>
                <a:gd name="connsiteX17" fmla="*/ 51721 w 228600"/>
                <a:gd name="connsiteY17" fmla="*/ 96660 h 238125"/>
                <a:gd name="connsiteX18" fmla="*/ 180718 w 228600"/>
                <a:gd name="connsiteY18" fmla="*/ 96660 h 238125"/>
                <a:gd name="connsiteX19" fmla="*/ 165049 w 228600"/>
                <a:gd name="connsiteY19" fmla="*/ 57236 h 238125"/>
                <a:gd name="connsiteX20" fmla="*/ 118281 w 228600"/>
                <a:gd name="connsiteY20" fmla="*/ 3999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8600" h="238125">
                  <a:moveTo>
                    <a:pt x="218570" y="124977"/>
                  </a:moveTo>
                  <a:lnTo>
                    <a:pt x="50635" y="124977"/>
                  </a:lnTo>
                  <a:cubicBezTo>
                    <a:pt x="50635" y="150704"/>
                    <a:pt x="58102" y="170478"/>
                    <a:pt x="73047" y="184309"/>
                  </a:cubicBezTo>
                  <a:cubicBezTo>
                    <a:pt x="86239" y="196358"/>
                    <a:pt x="103213" y="202368"/>
                    <a:pt x="123949" y="202368"/>
                  </a:cubicBezTo>
                  <a:cubicBezTo>
                    <a:pt x="147580" y="202368"/>
                    <a:pt x="167307" y="195872"/>
                    <a:pt x="183118" y="182870"/>
                  </a:cubicBezTo>
                  <a:lnTo>
                    <a:pt x="200520" y="210988"/>
                  </a:lnTo>
                  <a:cubicBezTo>
                    <a:pt x="194139" y="217018"/>
                    <a:pt x="184347" y="222218"/>
                    <a:pt x="171155" y="226590"/>
                  </a:cubicBezTo>
                  <a:cubicBezTo>
                    <a:pt x="154619" y="232343"/>
                    <a:pt x="136208" y="235210"/>
                    <a:pt x="115900" y="235210"/>
                  </a:cubicBezTo>
                  <a:cubicBezTo>
                    <a:pt x="86601" y="235210"/>
                    <a:pt x="61732" y="225847"/>
                    <a:pt x="41291" y="207092"/>
                  </a:cubicBezTo>
                  <a:cubicBezTo>
                    <a:pt x="18526" y="186423"/>
                    <a:pt x="7144" y="158648"/>
                    <a:pt x="7144" y="123749"/>
                  </a:cubicBezTo>
                  <a:cubicBezTo>
                    <a:pt x="7144" y="87478"/>
                    <a:pt x="18821" y="58398"/>
                    <a:pt x="42167" y="36500"/>
                  </a:cubicBezTo>
                  <a:cubicBezTo>
                    <a:pt x="63046" y="16935"/>
                    <a:pt x="87773" y="7144"/>
                    <a:pt x="116348" y="7144"/>
                  </a:cubicBezTo>
                  <a:cubicBezTo>
                    <a:pt x="149552" y="7144"/>
                    <a:pt x="175593" y="15973"/>
                    <a:pt x="194443" y="33623"/>
                  </a:cubicBezTo>
                  <a:cubicBezTo>
                    <a:pt x="212712" y="50597"/>
                    <a:pt x="221856" y="73114"/>
                    <a:pt x="221856" y="101165"/>
                  </a:cubicBezTo>
                  <a:cubicBezTo>
                    <a:pt x="221828" y="109795"/>
                    <a:pt x="220742" y="117738"/>
                    <a:pt x="218570" y="124977"/>
                  </a:cubicBezTo>
                  <a:close/>
                  <a:moveTo>
                    <a:pt x="118281" y="39995"/>
                  </a:moveTo>
                  <a:cubicBezTo>
                    <a:pt x="99860" y="39995"/>
                    <a:pt x="84420" y="45606"/>
                    <a:pt x="71952" y="56826"/>
                  </a:cubicBezTo>
                  <a:cubicBezTo>
                    <a:pt x="60055" y="67504"/>
                    <a:pt x="53311" y="80781"/>
                    <a:pt x="51721" y="96660"/>
                  </a:cubicBezTo>
                  <a:lnTo>
                    <a:pt x="180718" y="96660"/>
                  </a:lnTo>
                  <a:cubicBezTo>
                    <a:pt x="180718" y="80924"/>
                    <a:pt x="175498" y="67780"/>
                    <a:pt x="165049" y="57236"/>
                  </a:cubicBezTo>
                  <a:cubicBezTo>
                    <a:pt x="153600" y="45739"/>
                    <a:pt x="138008" y="39995"/>
                    <a:pt x="118281" y="39995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33C96522-BE3A-4B97-924A-C50B023B8379}"/>
                </a:ext>
              </a:extLst>
            </p:cNvPr>
            <p:cNvSpPr/>
            <p:nvPr/>
          </p:nvSpPr>
          <p:spPr>
            <a:xfrm>
              <a:off x="3631171" y="3164774"/>
              <a:ext cx="200025" cy="333375"/>
            </a:xfrm>
            <a:custGeom>
              <a:avLst/>
              <a:gdLst>
                <a:gd name="connsiteX0" fmla="*/ 10620 w 200025"/>
                <a:gd name="connsiteY0" fmla="*/ 301304 h 333375"/>
                <a:gd name="connsiteX1" fmla="*/ 33033 w 200025"/>
                <a:gd name="connsiteY1" fmla="*/ 270110 h 333375"/>
                <a:gd name="connsiteX2" fmla="*/ 99593 w 200025"/>
                <a:gd name="connsiteY2" fmla="*/ 292894 h 333375"/>
                <a:gd name="connsiteX3" fmla="*/ 143856 w 200025"/>
                <a:gd name="connsiteY3" fmla="*/ 283759 h 333375"/>
                <a:gd name="connsiteX4" fmla="*/ 160058 w 200025"/>
                <a:gd name="connsiteY4" fmla="*/ 261080 h 333375"/>
                <a:gd name="connsiteX5" fmla="*/ 119167 w 200025"/>
                <a:gd name="connsiteY5" fmla="*/ 234391 h 333375"/>
                <a:gd name="connsiteX6" fmla="*/ 93936 w 200025"/>
                <a:gd name="connsiteY6" fmla="*/ 237677 h 333375"/>
                <a:gd name="connsiteX7" fmla="*/ 65437 w 200025"/>
                <a:gd name="connsiteY7" fmla="*/ 240963 h 333375"/>
                <a:gd name="connsiteX8" fmla="*/ 15840 w 200025"/>
                <a:gd name="connsiteY8" fmla="*/ 205654 h 333375"/>
                <a:gd name="connsiteX9" fmla="*/ 27480 w 200025"/>
                <a:gd name="connsiteY9" fmla="*/ 185947 h 333375"/>
                <a:gd name="connsiteX10" fmla="*/ 56302 w 200025"/>
                <a:gd name="connsiteY10" fmla="*/ 173222 h 333375"/>
                <a:gd name="connsiteX11" fmla="*/ 7144 w 200025"/>
                <a:gd name="connsiteY11" fmla="*/ 97679 h 333375"/>
                <a:gd name="connsiteX12" fmla="*/ 32595 w 200025"/>
                <a:gd name="connsiteY12" fmla="*/ 40196 h 333375"/>
                <a:gd name="connsiteX13" fmla="*/ 95460 w 200025"/>
                <a:gd name="connsiteY13" fmla="*/ 17202 h 333375"/>
                <a:gd name="connsiteX14" fmla="*/ 149190 w 200025"/>
                <a:gd name="connsiteY14" fmla="*/ 30547 h 333375"/>
                <a:gd name="connsiteX15" fmla="*/ 169859 w 200025"/>
                <a:gd name="connsiteY15" fmla="*/ 7144 h 333375"/>
                <a:gd name="connsiteX16" fmla="*/ 196834 w 200025"/>
                <a:gd name="connsiteY16" fmla="*/ 31156 h 333375"/>
                <a:gd name="connsiteX17" fmla="*/ 172031 w 200025"/>
                <a:gd name="connsiteY17" fmla="*/ 48816 h 333375"/>
                <a:gd name="connsiteX18" fmla="*/ 187909 w 200025"/>
                <a:gd name="connsiteY18" fmla="*/ 99727 h 333375"/>
                <a:gd name="connsiteX19" fmla="*/ 165935 w 200025"/>
                <a:gd name="connsiteY19" fmla="*/ 155562 h 333375"/>
                <a:gd name="connsiteX20" fmla="*/ 108290 w 200025"/>
                <a:gd name="connsiteY20" fmla="*/ 181432 h 333375"/>
                <a:gd name="connsiteX21" fmla="*/ 74143 w 200025"/>
                <a:gd name="connsiteY21" fmla="*/ 184718 h 333375"/>
                <a:gd name="connsiteX22" fmla="*/ 57826 w 200025"/>
                <a:gd name="connsiteY22" fmla="*/ 189128 h 333375"/>
                <a:gd name="connsiteX23" fmla="*/ 47606 w 200025"/>
                <a:gd name="connsiteY23" fmla="*/ 199092 h 333375"/>
                <a:gd name="connsiteX24" fmla="*/ 68923 w 200025"/>
                <a:gd name="connsiteY24" fmla="*/ 207512 h 333375"/>
                <a:gd name="connsiteX25" fmla="*/ 98069 w 200025"/>
                <a:gd name="connsiteY25" fmla="*/ 204330 h 333375"/>
                <a:gd name="connsiteX26" fmla="*/ 127435 w 200025"/>
                <a:gd name="connsiteY26" fmla="*/ 201139 h 333375"/>
                <a:gd name="connsiteX27" fmla="*/ 181051 w 200025"/>
                <a:gd name="connsiteY27" fmla="*/ 216646 h 333375"/>
                <a:gd name="connsiteX28" fmla="*/ 200301 w 200025"/>
                <a:gd name="connsiteY28" fmla="*/ 259651 h 333375"/>
                <a:gd name="connsiteX29" fmla="*/ 171479 w 200025"/>
                <a:gd name="connsiteY29" fmla="*/ 308715 h 333375"/>
                <a:gd name="connsiteX30" fmla="*/ 98498 w 200025"/>
                <a:gd name="connsiteY30" fmla="*/ 327393 h 333375"/>
                <a:gd name="connsiteX31" fmla="*/ 50863 w 200025"/>
                <a:gd name="connsiteY31" fmla="*/ 319802 h 333375"/>
                <a:gd name="connsiteX32" fmla="*/ 10620 w 200025"/>
                <a:gd name="connsiteY32" fmla="*/ 301304 h 333375"/>
                <a:gd name="connsiteX33" fmla="*/ 98288 w 200025"/>
                <a:gd name="connsiteY33" fmla="*/ 48606 h 333375"/>
                <a:gd name="connsiteX34" fmla="*/ 63160 w 200025"/>
                <a:gd name="connsiteY34" fmla="*/ 62979 h 333375"/>
                <a:gd name="connsiteX35" fmla="*/ 49568 w 200025"/>
                <a:gd name="connsiteY35" fmla="*/ 97879 h 333375"/>
                <a:gd name="connsiteX36" fmla="*/ 62732 w 200025"/>
                <a:gd name="connsiteY36" fmla="*/ 135950 h 333375"/>
                <a:gd name="connsiteX37" fmla="*/ 98298 w 200025"/>
                <a:gd name="connsiteY37" fmla="*/ 151047 h 333375"/>
                <a:gd name="connsiteX38" fmla="*/ 132664 w 200025"/>
                <a:gd name="connsiteY38" fmla="*/ 136369 h 333375"/>
                <a:gd name="connsiteX39" fmla="*/ 145066 w 200025"/>
                <a:gd name="connsiteY39" fmla="*/ 97879 h 333375"/>
                <a:gd name="connsiteX40" fmla="*/ 131683 w 200025"/>
                <a:gd name="connsiteY40" fmla="*/ 62979 h 333375"/>
                <a:gd name="connsiteX41" fmla="*/ 98288 w 200025"/>
                <a:gd name="connsiteY41" fmla="*/ 48606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0025" h="333375">
                  <a:moveTo>
                    <a:pt x="10620" y="301304"/>
                  </a:moveTo>
                  <a:lnTo>
                    <a:pt x="33033" y="270110"/>
                  </a:lnTo>
                  <a:cubicBezTo>
                    <a:pt x="57102" y="285302"/>
                    <a:pt x="79286" y="292894"/>
                    <a:pt x="99593" y="292894"/>
                  </a:cubicBezTo>
                  <a:cubicBezTo>
                    <a:pt x="118300" y="292894"/>
                    <a:pt x="133055" y="289855"/>
                    <a:pt x="143856" y="283759"/>
                  </a:cubicBezTo>
                  <a:cubicBezTo>
                    <a:pt x="154657" y="277673"/>
                    <a:pt x="160058" y="270110"/>
                    <a:pt x="160058" y="261080"/>
                  </a:cubicBezTo>
                  <a:cubicBezTo>
                    <a:pt x="160058" y="243288"/>
                    <a:pt x="146428" y="234391"/>
                    <a:pt x="119167" y="234391"/>
                  </a:cubicBezTo>
                  <a:cubicBezTo>
                    <a:pt x="114529" y="234391"/>
                    <a:pt x="106118" y="235487"/>
                    <a:pt x="93936" y="237677"/>
                  </a:cubicBezTo>
                  <a:cubicBezTo>
                    <a:pt x="81753" y="239859"/>
                    <a:pt x="72257" y="240963"/>
                    <a:pt x="65437" y="240963"/>
                  </a:cubicBezTo>
                  <a:cubicBezTo>
                    <a:pt x="32375" y="240963"/>
                    <a:pt x="15840" y="229200"/>
                    <a:pt x="15840" y="205654"/>
                  </a:cubicBezTo>
                  <a:cubicBezTo>
                    <a:pt x="15840" y="198396"/>
                    <a:pt x="19717" y="191834"/>
                    <a:pt x="27480" y="185947"/>
                  </a:cubicBezTo>
                  <a:cubicBezTo>
                    <a:pt x="35233" y="180070"/>
                    <a:pt x="44844" y="175822"/>
                    <a:pt x="56302" y="173222"/>
                  </a:cubicBezTo>
                  <a:cubicBezTo>
                    <a:pt x="23527" y="158725"/>
                    <a:pt x="7144" y="133531"/>
                    <a:pt x="7144" y="97679"/>
                  </a:cubicBezTo>
                  <a:cubicBezTo>
                    <a:pt x="7144" y="74686"/>
                    <a:pt x="15631" y="55521"/>
                    <a:pt x="32595" y="40196"/>
                  </a:cubicBezTo>
                  <a:cubicBezTo>
                    <a:pt x="49559" y="24879"/>
                    <a:pt x="70514" y="17202"/>
                    <a:pt x="95460" y="17202"/>
                  </a:cubicBezTo>
                  <a:cubicBezTo>
                    <a:pt x="118367" y="17202"/>
                    <a:pt x="136284" y="21660"/>
                    <a:pt x="149190" y="30547"/>
                  </a:cubicBezTo>
                  <a:lnTo>
                    <a:pt x="169859" y="7144"/>
                  </a:lnTo>
                  <a:lnTo>
                    <a:pt x="196834" y="31156"/>
                  </a:lnTo>
                  <a:lnTo>
                    <a:pt x="172031" y="48816"/>
                  </a:lnTo>
                  <a:cubicBezTo>
                    <a:pt x="182613" y="61817"/>
                    <a:pt x="187909" y="78781"/>
                    <a:pt x="187909" y="99727"/>
                  </a:cubicBezTo>
                  <a:cubicBezTo>
                    <a:pt x="187909" y="121901"/>
                    <a:pt x="180584" y="140513"/>
                    <a:pt x="165935" y="155562"/>
                  </a:cubicBezTo>
                  <a:cubicBezTo>
                    <a:pt x="151286" y="170621"/>
                    <a:pt x="132074" y="179242"/>
                    <a:pt x="108290" y="181432"/>
                  </a:cubicBezTo>
                  <a:lnTo>
                    <a:pt x="74143" y="184718"/>
                  </a:lnTo>
                  <a:cubicBezTo>
                    <a:pt x="70085" y="185128"/>
                    <a:pt x="64646" y="186595"/>
                    <a:pt x="57826" y="189128"/>
                  </a:cubicBezTo>
                  <a:cubicBezTo>
                    <a:pt x="51006" y="191672"/>
                    <a:pt x="47606" y="194977"/>
                    <a:pt x="47606" y="199092"/>
                  </a:cubicBezTo>
                  <a:cubicBezTo>
                    <a:pt x="47606" y="204702"/>
                    <a:pt x="54712" y="207512"/>
                    <a:pt x="68923" y="207512"/>
                  </a:cubicBezTo>
                  <a:cubicBezTo>
                    <a:pt x="75152" y="207512"/>
                    <a:pt x="84868" y="206454"/>
                    <a:pt x="98069" y="204330"/>
                  </a:cubicBezTo>
                  <a:cubicBezTo>
                    <a:pt x="111262" y="202206"/>
                    <a:pt x="121053" y="201139"/>
                    <a:pt x="127435" y="201139"/>
                  </a:cubicBezTo>
                  <a:cubicBezTo>
                    <a:pt x="150352" y="201139"/>
                    <a:pt x="168221" y="206312"/>
                    <a:pt x="181051" y="216646"/>
                  </a:cubicBezTo>
                  <a:cubicBezTo>
                    <a:pt x="193891" y="226981"/>
                    <a:pt x="200301" y="241306"/>
                    <a:pt x="200301" y="259651"/>
                  </a:cubicBezTo>
                  <a:cubicBezTo>
                    <a:pt x="200301" y="279911"/>
                    <a:pt x="190691" y="296266"/>
                    <a:pt x="171479" y="308715"/>
                  </a:cubicBezTo>
                  <a:cubicBezTo>
                    <a:pt x="152257" y="321164"/>
                    <a:pt x="127930" y="327393"/>
                    <a:pt x="98498" y="327393"/>
                  </a:cubicBezTo>
                  <a:cubicBezTo>
                    <a:pt x="83410" y="327393"/>
                    <a:pt x="67532" y="324860"/>
                    <a:pt x="50863" y="319802"/>
                  </a:cubicBezTo>
                  <a:cubicBezTo>
                    <a:pt x="34195" y="314725"/>
                    <a:pt x="20774" y="308562"/>
                    <a:pt x="10620" y="301304"/>
                  </a:cubicBezTo>
                  <a:close/>
                  <a:moveTo>
                    <a:pt x="98288" y="48606"/>
                  </a:moveTo>
                  <a:cubicBezTo>
                    <a:pt x="83934" y="48606"/>
                    <a:pt x="72219" y="53397"/>
                    <a:pt x="63160" y="62979"/>
                  </a:cubicBezTo>
                  <a:cubicBezTo>
                    <a:pt x="54102" y="72561"/>
                    <a:pt x="49568" y="84201"/>
                    <a:pt x="49568" y="97879"/>
                  </a:cubicBezTo>
                  <a:cubicBezTo>
                    <a:pt x="49568" y="113205"/>
                    <a:pt x="53950" y="125892"/>
                    <a:pt x="62732" y="135950"/>
                  </a:cubicBezTo>
                  <a:cubicBezTo>
                    <a:pt x="71504" y="146018"/>
                    <a:pt x="83363" y="151047"/>
                    <a:pt x="98298" y="151047"/>
                  </a:cubicBezTo>
                  <a:cubicBezTo>
                    <a:pt x="112947" y="151047"/>
                    <a:pt x="124406" y="146152"/>
                    <a:pt x="132664" y="136369"/>
                  </a:cubicBezTo>
                  <a:cubicBezTo>
                    <a:pt x="140922" y="126587"/>
                    <a:pt x="145066" y="113757"/>
                    <a:pt x="145066" y="97879"/>
                  </a:cubicBezTo>
                  <a:cubicBezTo>
                    <a:pt x="145066" y="84192"/>
                    <a:pt x="140608" y="72561"/>
                    <a:pt x="131683" y="62979"/>
                  </a:cubicBezTo>
                  <a:cubicBezTo>
                    <a:pt x="122758" y="53397"/>
                    <a:pt x="111624" y="48606"/>
                    <a:pt x="98288" y="48606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62E9089B-F80B-4A40-B426-1B41438860A9}"/>
                </a:ext>
              </a:extLst>
            </p:cNvPr>
            <p:cNvSpPr/>
            <p:nvPr/>
          </p:nvSpPr>
          <p:spPr>
            <a:xfrm>
              <a:off x="3842673" y="3178937"/>
              <a:ext cx="228600" cy="314325"/>
            </a:xfrm>
            <a:custGeom>
              <a:avLst/>
              <a:gdLst>
                <a:gd name="connsiteX0" fmla="*/ 122872 w 228600"/>
                <a:gd name="connsiteY0" fmla="*/ 264366 h 314325"/>
                <a:gd name="connsiteX1" fmla="*/ 89049 w 228600"/>
                <a:gd name="connsiteY1" fmla="*/ 299256 h 314325"/>
                <a:gd name="connsiteX2" fmla="*/ 31509 w 228600"/>
                <a:gd name="connsiteY2" fmla="*/ 313220 h 314325"/>
                <a:gd name="connsiteX3" fmla="*/ 31509 w 228600"/>
                <a:gd name="connsiteY3" fmla="*/ 278321 h 314325"/>
                <a:gd name="connsiteX4" fmla="*/ 75886 w 228600"/>
                <a:gd name="connsiteY4" fmla="*/ 266929 h 314325"/>
                <a:gd name="connsiteX5" fmla="*/ 94374 w 228600"/>
                <a:gd name="connsiteY5" fmla="*/ 239116 h 314325"/>
                <a:gd name="connsiteX6" fmla="*/ 87630 w 228600"/>
                <a:gd name="connsiteY6" fmla="*/ 203502 h 314325"/>
                <a:gd name="connsiteX7" fmla="*/ 70228 w 228600"/>
                <a:gd name="connsiteY7" fmla="*/ 160077 h 314325"/>
                <a:gd name="connsiteX8" fmla="*/ 7144 w 228600"/>
                <a:gd name="connsiteY8" fmla="*/ 7144 h 314325"/>
                <a:gd name="connsiteX9" fmla="*/ 49349 w 228600"/>
                <a:gd name="connsiteY9" fmla="*/ 7144 h 314325"/>
                <a:gd name="connsiteX10" fmla="*/ 117872 w 228600"/>
                <a:gd name="connsiteY10" fmla="*/ 177117 h 314325"/>
                <a:gd name="connsiteX11" fmla="*/ 179432 w 228600"/>
                <a:gd name="connsiteY11" fmla="*/ 7144 h 314325"/>
                <a:gd name="connsiteX12" fmla="*/ 221637 w 228600"/>
                <a:gd name="connsiteY12" fmla="*/ 7144 h 314325"/>
                <a:gd name="connsiteX13" fmla="*/ 122872 w 228600"/>
                <a:gd name="connsiteY13" fmla="*/ 26436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0" h="314325">
                  <a:moveTo>
                    <a:pt x="122872" y="264366"/>
                  </a:moveTo>
                  <a:cubicBezTo>
                    <a:pt x="117510" y="278321"/>
                    <a:pt x="106232" y="289960"/>
                    <a:pt x="89049" y="299256"/>
                  </a:cubicBezTo>
                  <a:cubicBezTo>
                    <a:pt x="71866" y="308572"/>
                    <a:pt x="52683" y="313220"/>
                    <a:pt x="31509" y="313220"/>
                  </a:cubicBezTo>
                  <a:lnTo>
                    <a:pt x="31509" y="278321"/>
                  </a:lnTo>
                  <a:cubicBezTo>
                    <a:pt x="48768" y="278321"/>
                    <a:pt x="63551" y="274530"/>
                    <a:pt x="75886" y="266929"/>
                  </a:cubicBezTo>
                  <a:cubicBezTo>
                    <a:pt x="88211" y="259337"/>
                    <a:pt x="94374" y="250060"/>
                    <a:pt x="94374" y="239116"/>
                  </a:cubicBezTo>
                  <a:cubicBezTo>
                    <a:pt x="94374" y="227067"/>
                    <a:pt x="92126" y="215198"/>
                    <a:pt x="87630" y="203502"/>
                  </a:cubicBezTo>
                  <a:cubicBezTo>
                    <a:pt x="83134" y="191795"/>
                    <a:pt x="77324" y="177327"/>
                    <a:pt x="70228" y="160077"/>
                  </a:cubicBezTo>
                  <a:lnTo>
                    <a:pt x="7144" y="7144"/>
                  </a:lnTo>
                  <a:lnTo>
                    <a:pt x="49349" y="7144"/>
                  </a:lnTo>
                  <a:lnTo>
                    <a:pt x="117872" y="177117"/>
                  </a:lnTo>
                  <a:lnTo>
                    <a:pt x="179432" y="7144"/>
                  </a:lnTo>
                  <a:lnTo>
                    <a:pt x="221637" y="7144"/>
                  </a:lnTo>
                  <a:lnTo>
                    <a:pt x="122872" y="26436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6A6AC0AF-8041-415B-BB1D-11EB5EEB51D1}"/>
                </a:ext>
              </a:extLst>
            </p:cNvPr>
            <p:cNvSpPr/>
            <p:nvPr/>
          </p:nvSpPr>
          <p:spPr>
            <a:xfrm>
              <a:off x="4216730" y="3175851"/>
              <a:ext cx="209550" cy="238125"/>
            </a:xfrm>
            <a:custGeom>
              <a:avLst/>
              <a:gdLst>
                <a:gd name="connsiteX0" fmla="*/ 169859 w 209550"/>
                <a:gd name="connsiteY0" fmla="*/ 150228 h 238125"/>
                <a:gd name="connsiteX1" fmla="*/ 208359 w 209550"/>
                <a:gd name="connsiteY1" fmla="*/ 154953 h 238125"/>
                <a:gd name="connsiteX2" fmla="*/ 176051 w 209550"/>
                <a:gd name="connsiteY2" fmla="*/ 213760 h 238125"/>
                <a:gd name="connsiteX3" fmla="*/ 112204 w 209550"/>
                <a:gd name="connsiteY3" fmla="*/ 235010 h 238125"/>
                <a:gd name="connsiteX4" fmla="*/ 35966 w 209550"/>
                <a:gd name="connsiteY4" fmla="*/ 205759 h 238125"/>
                <a:gd name="connsiteX5" fmla="*/ 7144 w 209550"/>
                <a:gd name="connsiteY5" fmla="*/ 121892 h 238125"/>
                <a:gd name="connsiteX6" fmla="*/ 19545 w 209550"/>
                <a:gd name="connsiteY6" fmla="*/ 60112 h 238125"/>
                <a:gd name="connsiteX7" fmla="*/ 57283 w 209550"/>
                <a:gd name="connsiteY7" fmla="*/ 20383 h 238125"/>
                <a:gd name="connsiteX8" fmla="*/ 112424 w 209550"/>
                <a:gd name="connsiteY8" fmla="*/ 7144 h 238125"/>
                <a:gd name="connsiteX9" fmla="*/ 173984 w 209550"/>
                <a:gd name="connsiteY9" fmla="*/ 25108 h 238125"/>
                <a:gd name="connsiteX10" fmla="*/ 204654 w 209550"/>
                <a:gd name="connsiteY10" fmla="*/ 76114 h 238125"/>
                <a:gd name="connsiteX11" fmla="*/ 166583 w 209550"/>
                <a:gd name="connsiteY11" fmla="*/ 81658 h 238125"/>
                <a:gd name="connsiteX12" fmla="*/ 147333 w 209550"/>
                <a:gd name="connsiteY12" fmla="*/ 48606 h 238125"/>
                <a:gd name="connsiteX13" fmla="*/ 113938 w 209550"/>
                <a:gd name="connsiteY13" fmla="*/ 37519 h 238125"/>
                <a:gd name="connsiteX14" fmla="*/ 65865 w 209550"/>
                <a:gd name="connsiteY14" fmla="*/ 57541 h 238125"/>
                <a:gd name="connsiteX15" fmla="*/ 47377 w 209550"/>
                <a:gd name="connsiteY15" fmla="*/ 120863 h 238125"/>
                <a:gd name="connsiteX16" fmla="*/ 65218 w 209550"/>
                <a:gd name="connsiteY16" fmla="*/ 184709 h 238125"/>
                <a:gd name="connsiteX17" fmla="*/ 111766 w 209550"/>
                <a:gd name="connsiteY17" fmla="*/ 204616 h 238125"/>
                <a:gd name="connsiteX18" fmla="*/ 150266 w 209550"/>
                <a:gd name="connsiteY18" fmla="*/ 191281 h 238125"/>
                <a:gd name="connsiteX19" fmla="*/ 169859 w 209550"/>
                <a:gd name="connsiteY19" fmla="*/ 150228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9550" h="238125">
                  <a:moveTo>
                    <a:pt x="169859" y="150228"/>
                  </a:moveTo>
                  <a:lnTo>
                    <a:pt x="208359" y="154953"/>
                  </a:lnTo>
                  <a:cubicBezTo>
                    <a:pt x="204149" y="179994"/>
                    <a:pt x="193386" y="199606"/>
                    <a:pt x="176051" y="213760"/>
                  </a:cubicBezTo>
                  <a:cubicBezTo>
                    <a:pt x="158715" y="227924"/>
                    <a:pt x="137436" y="235010"/>
                    <a:pt x="112204" y="235010"/>
                  </a:cubicBezTo>
                  <a:cubicBezTo>
                    <a:pt x="80591" y="235010"/>
                    <a:pt x="55178" y="225257"/>
                    <a:pt x="35966" y="205759"/>
                  </a:cubicBezTo>
                  <a:cubicBezTo>
                    <a:pt x="16745" y="186252"/>
                    <a:pt x="7144" y="158306"/>
                    <a:pt x="7144" y="121892"/>
                  </a:cubicBezTo>
                  <a:cubicBezTo>
                    <a:pt x="7144" y="98355"/>
                    <a:pt x="11278" y="77762"/>
                    <a:pt x="19545" y="60112"/>
                  </a:cubicBezTo>
                  <a:cubicBezTo>
                    <a:pt x="27813" y="42453"/>
                    <a:pt x="40386" y="29213"/>
                    <a:pt x="57283" y="20383"/>
                  </a:cubicBezTo>
                  <a:cubicBezTo>
                    <a:pt x="74171" y="11554"/>
                    <a:pt x="92555" y="7144"/>
                    <a:pt x="112424" y="7144"/>
                  </a:cubicBezTo>
                  <a:cubicBezTo>
                    <a:pt x="137513" y="7144"/>
                    <a:pt x="158029" y="13135"/>
                    <a:pt x="173984" y="25108"/>
                  </a:cubicBezTo>
                  <a:cubicBezTo>
                    <a:pt x="189938" y="37081"/>
                    <a:pt x="200168" y="54083"/>
                    <a:pt x="204654" y="76114"/>
                  </a:cubicBezTo>
                  <a:lnTo>
                    <a:pt x="166583" y="81658"/>
                  </a:lnTo>
                  <a:cubicBezTo>
                    <a:pt x="162954" y="67018"/>
                    <a:pt x="156543" y="55998"/>
                    <a:pt x="147333" y="48606"/>
                  </a:cubicBezTo>
                  <a:cubicBezTo>
                    <a:pt x="138122" y="41215"/>
                    <a:pt x="126997" y="37519"/>
                    <a:pt x="113938" y="37519"/>
                  </a:cubicBezTo>
                  <a:cubicBezTo>
                    <a:pt x="94221" y="37519"/>
                    <a:pt x="78191" y="44187"/>
                    <a:pt x="65865" y="57541"/>
                  </a:cubicBezTo>
                  <a:cubicBezTo>
                    <a:pt x="53540" y="70876"/>
                    <a:pt x="47377" y="91992"/>
                    <a:pt x="47377" y="120863"/>
                  </a:cubicBezTo>
                  <a:cubicBezTo>
                    <a:pt x="47377" y="150152"/>
                    <a:pt x="53330" y="171441"/>
                    <a:pt x="65218" y="184709"/>
                  </a:cubicBezTo>
                  <a:cubicBezTo>
                    <a:pt x="77105" y="197987"/>
                    <a:pt x="92621" y="204616"/>
                    <a:pt x="111766" y="204616"/>
                  </a:cubicBezTo>
                  <a:cubicBezTo>
                    <a:pt x="127130" y="204616"/>
                    <a:pt x="139970" y="200168"/>
                    <a:pt x="150266" y="191281"/>
                  </a:cubicBezTo>
                  <a:cubicBezTo>
                    <a:pt x="160563" y="182394"/>
                    <a:pt x="167097" y="168707"/>
                    <a:pt x="169859" y="150228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54DDF795-567F-4120-9238-03949882BBC3}"/>
                </a:ext>
              </a:extLst>
            </p:cNvPr>
            <p:cNvSpPr/>
            <p:nvPr/>
          </p:nvSpPr>
          <p:spPr>
            <a:xfrm>
              <a:off x="4439539" y="3175861"/>
              <a:ext cx="228600" cy="238125"/>
            </a:xfrm>
            <a:custGeom>
              <a:avLst/>
              <a:gdLst>
                <a:gd name="connsiteX0" fmla="*/ 7144 w 228600"/>
                <a:gd name="connsiteY0" fmla="*/ 121072 h 238125"/>
                <a:gd name="connsiteX1" fmla="*/ 42815 w 228600"/>
                <a:gd name="connsiteY1" fmla="*/ 31366 h 238125"/>
                <a:gd name="connsiteX2" fmla="*/ 115472 w 228600"/>
                <a:gd name="connsiteY2" fmla="*/ 7144 h 238125"/>
                <a:gd name="connsiteX3" fmla="*/ 193348 w 228600"/>
                <a:gd name="connsiteY3" fmla="*/ 36605 h 238125"/>
                <a:gd name="connsiteX4" fmla="*/ 223590 w 228600"/>
                <a:gd name="connsiteY4" fmla="*/ 117996 h 238125"/>
                <a:gd name="connsiteX5" fmla="*/ 210217 w 228600"/>
                <a:gd name="connsiteY5" fmla="*/ 184204 h 238125"/>
                <a:gd name="connsiteX6" fmla="*/ 171279 w 228600"/>
                <a:gd name="connsiteY6" fmla="*/ 221666 h 238125"/>
                <a:gd name="connsiteX7" fmla="*/ 115481 w 228600"/>
                <a:gd name="connsiteY7" fmla="*/ 235010 h 238125"/>
                <a:gd name="connsiteX8" fmla="*/ 37071 w 228600"/>
                <a:gd name="connsiteY8" fmla="*/ 205654 h 238125"/>
                <a:gd name="connsiteX9" fmla="*/ 7144 w 228600"/>
                <a:gd name="connsiteY9" fmla="*/ 121072 h 238125"/>
                <a:gd name="connsiteX10" fmla="*/ 47387 w 228600"/>
                <a:gd name="connsiteY10" fmla="*/ 121072 h 238125"/>
                <a:gd name="connsiteX11" fmla="*/ 66742 w 228600"/>
                <a:gd name="connsiteY11" fmla="*/ 183785 h 238125"/>
                <a:gd name="connsiteX12" fmla="*/ 115462 w 228600"/>
                <a:gd name="connsiteY12" fmla="*/ 204626 h 238125"/>
                <a:gd name="connsiteX13" fmla="*/ 163973 w 228600"/>
                <a:gd name="connsiteY13" fmla="*/ 183690 h 238125"/>
                <a:gd name="connsiteX14" fmla="*/ 183337 w 228600"/>
                <a:gd name="connsiteY14" fmla="*/ 119853 h 238125"/>
                <a:gd name="connsiteX15" fmla="*/ 163868 w 228600"/>
                <a:gd name="connsiteY15" fmla="*/ 58569 h 238125"/>
                <a:gd name="connsiteX16" fmla="*/ 115462 w 228600"/>
                <a:gd name="connsiteY16" fmla="*/ 37729 h 238125"/>
                <a:gd name="connsiteX17" fmla="*/ 66742 w 228600"/>
                <a:gd name="connsiteY17" fmla="*/ 58464 h 238125"/>
                <a:gd name="connsiteX18" fmla="*/ 47387 w 228600"/>
                <a:gd name="connsiteY18" fmla="*/ 12107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8600" h="238125">
                  <a:moveTo>
                    <a:pt x="7144" y="121072"/>
                  </a:moveTo>
                  <a:cubicBezTo>
                    <a:pt x="7144" y="80705"/>
                    <a:pt x="19031" y="50797"/>
                    <a:pt x="42815" y="31366"/>
                  </a:cubicBezTo>
                  <a:cubicBezTo>
                    <a:pt x="62684" y="15221"/>
                    <a:pt x="86906" y="7144"/>
                    <a:pt x="115472" y="7144"/>
                  </a:cubicBezTo>
                  <a:cubicBezTo>
                    <a:pt x="147238" y="7144"/>
                    <a:pt x="173193" y="16964"/>
                    <a:pt x="193348" y="36605"/>
                  </a:cubicBezTo>
                  <a:cubicBezTo>
                    <a:pt x="213503" y="56245"/>
                    <a:pt x="223590" y="83372"/>
                    <a:pt x="223590" y="117996"/>
                  </a:cubicBezTo>
                  <a:cubicBezTo>
                    <a:pt x="223590" y="146047"/>
                    <a:pt x="219132" y="168126"/>
                    <a:pt x="210217" y="184204"/>
                  </a:cubicBezTo>
                  <a:cubicBezTo>
                    <a:pt x="201301" y="200282"/>
                    <a:pt x="188319" y="212769"/>
                    <a:pt x="171279" y="221666"/>
                  </a:cubicBezTo>
                  <a:cubicBezTo>
                    <a:pt x="154238" y="230562"/>
                    <a:pt x="135636" y="235010"/>
                    <a:pt x="115481" y="235010"/>
                  </a:cubicBezTo>
                  <a:cubicBezTo>
                    <a:pt x="83144" y="235010"/>
                    <a:pt x="56998" y="225228"/>
                    <a:pt x="37071" y="205654"/>
                  </a:cubicBezTo>
                  <a:cubicBezTo>
                    <a:pt x="17117" y="186080"/>
                    <a:pt x="7144" y="157886"/>
                    <a:pt x="7144" y="121072"/>
                  </a:cubicBezTo>
                  <a:close/>
                  <a:moveTo>
                    <a:pt x="47387" y="121072"/>
                  </a:moveTo>
                  <a:cubicBezTo>
                    <a:pt x="47387" y="149000"/>
                    <a:pt x="53835" y="169897"/>
                    <a:pt x="66742" y="183785"/>
                  </a:cubicBezTo>
                  <a:cubicBezTo>
                    <a:pt x="79639" y="197682"/>
                    <a:pt x="95898" y="204626"/>
                    <a:pt x="115462" y="204626"/>
                  </a:cubicBezTo>
                  <a:cubicBezTo>
                    <a:pt x="134893" y="204626"/>
                    <a:pt x="151067" y="197653"/>
                    <a:pt x="163973" y="183690"/>
                  </a:cubicBezTo>
                  <a:cubicBezTo>
                    <a:pt x="176879" y="169736"/>
                    <a:pt x="183337" y="148457"/>
                    <a:pt x="183337" y="119853"/>
                  </a:cubicBezTo>
                  <a:cubicBezTo>
                    <a:pt x="183337" y="92888"/>
                    <a:pt x="176841" y="72466"/>
                    <a:pt x="163868" y="58569"/>
                  </a:cubicBezTo>
                  <a:cubicBezTo>
                    <a:pt x="150886" y="44682"/>
                    <a:pt x="134750" y="37729"/>
                    <a:pt x="115462" y="37729"/>
                  </a:cubicBezTo>
                  <a:cubicBezTo>
                    <a:pt x="95888" y="37729"/>
                    <a:pt x="79639" y="44644"/>
                    <a:pt x="66742" y="58464"/>
                  </a:cubicBezTo>
                  <a:cubicBezTo>
                    <a:pt x="53835" y="72285"/>
                    <a:pt x="47387" y="93154"/>
                    <a:pt x="47387" y="12107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AD021256-C0E6-4EDC-A687-92A2652E0864}"/>
                </a:ext>
              </a:extLst>
            </p:cNvPr>
            <p:cNvSpPr/>
            <p:nvPr/>
          </p:nvSpPr>
          <p:spPr>
            <a:xfrm>
              <a:off x="4704553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8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8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51388068-D1C7-4F0A-A0FA-62322DA7B128}"/>
                </a:ext>
              </a:extLst>
            </p:cNvPr>
            <p:cNvSpPr/>
            <p:nvPr/>
          </p:nvSpPr>
          <p:spPr>
            <a:xfrm>
              <a:off x="4939325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9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9" y="80639"/>
                    <a:pt x="13669" y="69961"/>
                  </a:cubicBezTo>
                  <a:cubicBezTo>
                    <a:pt x="13669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3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3DF1E406-3DB0-4685-9480-8D4585AA7202}"/>
                </a:ext>
              </a:extLst>
            </p:cNvPr>
            <p:cNvSpPr/>
            <p:nvPr/>
          </p:nvSpPr>
          <p:spPr>
            <a:xfrm>
              <a:off x="5179536" y="3180766"/>
              <a:ext cx="200025" cy="228600"/>
            </a:xfrm>
            <a:custGeom>
              <a:avLst/>
              <a:gdLst>
                <a:gd name="connsiteX0" fmla="*/ 159420 w 200025"/>
                <a:gd name="connsiteY0" fmla="*/ 225171 h 228600"/>
                <a:gd name="connsiteX1" fmla="*/ 159420 w 200025"/>
                <a:gd name="connsiteY1" fmla="*/ 193148 h 228600"/>
                <a:gd name="connsiteX2" fmla="*/ 86115 w 200025"/>
                <a:gd name="connsiteY2" fmla="*/ 230105 h 228600"/>
                <a:gd name="connsiteX3" fmla="*/ 47930 w 200025"/>
                <a:gd name="connsiteY3" fmla="*/ 222714 h 228600"/>
                <a:gd name="connsiteX4" fmla="*/ 21612 w 200025"/>
                <a:gd name="connsiteY4" fmla="*/ 204140 h 228600"/>
                <a:gd name="connsiteX5" fmla="*/ 9534 w 200025"/>
                <a:gd name="connsiteY5" fmla="*/ 176736 h 228600"/>
                <a:gd name="connsiteX6" fmla="*/ 7144 w 200025"/>
                <a:gd name="connsiteY6" fmla="*/ 142246 h 228600"/>
                <a:gd name="connsiteX7" fmla="*/ 7144 w 200025"/>
                <a:gd name="connsiteY7" fmla="*/ 7163 h 228600"/>
                <a:gd name="connsiteX8" fmla="*/ 46291 w 200025"/>
                <a:gd name="connsiteY8" fmla="*/ 7163 h 228600"/>
                <a:gd name="connsiteX9" fmla="*/ 46291 w 200025"/>
                <a:gd name="connsiteY9" fmla="*/ 128073 h 228600"/>
                <a:gd name="connsiteX10" fmla="*/ 48682 w 200025"/>
                <a:gd name="connsiteY10" fmla="*/ 167078 h 228600"/>
                <a:gd name="connsiteX11" fmla="*/ 64351 w 200025"/>
                <a:gd name="connsiteY11" fmla="*/ 189967 h 228600"/>
                <a:gd name="connsiteX12" fmla="*/ 93926 w 200025"/>
                <a:gd name="connsiteY12" fmla="*/ 198282 h 228600"/>
                <a:gd name="connsiteX13" fmla="*/ 126997 w 200025"/>
                <a:gd name="connsiteY13" fmla="*/ 189757 h 228600"/>
                <a:gd name="connsiteX14" fmla="*/ 148857 w 200025"/>
                <a:gd name="connsiteY14" fmla="*/ 166554 h 228600"/>
                <a:gd name="connsiteX15" fmla="*/ 155277 w 200025"/>
                <a:gd name="connsiteY15" fmla="*/ 123958 h 228600"/>
                <a:gd name="connsiteX16" fmla="*/ 155277 w 200025"/>
                <a:gd name="connsiteY16" fmla="*/ 7144 h 228600"/>
                <a:gd name="connsiteX17" fmla="*/ 194434 w 200025"/>
                <a:gd name="connsiteY17" fmla="*/ 7144 h 228600"/>
                <a:gd name="connsiteX18" fmla="*/ 194434 w 200025"/>
                <a:gd name="connsiteY18" fmla="*/ 225162 h 228600"/>
                <a:gd name="connsiteX19" fmla="*/ 159420 w 200025"/>
                <a:gd name="connsiteY19" fmla="*/ 22516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025" h="228600">
                  <a:moveTo>
                    <a:pt x="159420" y="225171"/>
                  </a:moveTo>
                  <a:lnTo>
                    <a:pt x="159420" y="193148"/>
                  </a:lnTo>
                  <a:cubicBezTo>
                    <a:pt x="141427" y="217789"/>
                    <a:pt x="116995" y="230105"/>
                    <a:pt x="86115" y="230105"/>
                  </a:cubicBezTo>
                  <a:cubicBezTo>
                    <a:pt x="72476" y="230105"/>
                    <a:pt x="59750" y="227638"/>
                    <a:pt x="47930" y="222714"/>
                  </a:cubicBezTo>
                  <a:cubicBezTo>
                    <a:pt x="36109" y="217789"/>
                    <a:pt x="27337" y="211598"/>
                    <a:pt x="21612" y="204140"/>
                  </a:cubicBezTo>
                  <a:cubicBezTo>
                    <a:pt x="15878" y="196682"/>
                    <a:pt x="11859" y="187547"/>
                    <a:pt x="9534" y="176736"/>
                  </a:cubicBezTo>
                  <a:cubicBezTo>
                    <a:pt x="7934" y="169478"/>
                    <a:pt x="7144" y="157982"/>
                    <a:pt x="7144" y="142246"/>
                  </a:cubicBezTo>
                  <a:lnTo>
                    <a:pt x="7144" y="7163"/>
                  </a:lnTo>
                  <a:lnTo>
                    <a:pt x="46291" y="7163"/>
                  </a:lnTo>
                  <a:lnTo>
                    <a:pt x="46291" y="128073"/>
                  </a:lnTo>
                  <a:cubicBezTo>
                    <a:pt x="46291" y="147371"/>
                    <a:pt x="47082" y="160382"/>
                    <a:pt x="48682" y="167078"/>
                  </a:cubicBezTo>
                  <a:cubicBezTo>
                    <a:pt x="51149" y="176803"/>
                    <a:pt x="56369" y="184423"/>
                    <a:pt x="64351" y="189967"/>
                  </a:cubicBezTo>
                  <a:cubicBezTo>
                    <a:pt x="72323" y="195510"/>
                    <a:pt x="82191" y="198282"/>
                    <a:pt x="93926" y="198282"/>
                  </a:cubicBezTo>
                  <a:cubicBezTo>
                    <a:pt x="105670" y="198282"/>
                    <a:pt x="116700" y="195443"/>
                    <a:pt x="126997" y="189757"/>
                  </a:cubicBezTo>
                  <a:cubicBezTo>
                    <a:pt x="137293" y="184080"/>
                    <a:pt x="144580" y="176346"/>
                    <a:pt x="148857" y="166554"/>
                  </a:cubicBezTo>
                  <a:cubicBezTo>
                    <a:pt x="153133" y="156763"/>
                    <a:pt x="155277" y="142570"/>
                    <a:pt x="155277" y="123958"/>
                  </a:cubicBezTo>
                  <a:lnTo>
                    <a:pt x="155277" y="7144"/>
                  </a:lnTo>
                  <a:lnTo>
                    <a:pt x="194434" y="7144"/>
                  </a:lnTo>
                  <a:lnTo>
                    <a:pt x="194434" y="225162"/>
                  </a:lnTo>
                  <a:lnTo>
                    <a:pt x="159420" y="225162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43E7EEFA-1A48-49DD-885E-F6D29D1291F1}"/>
                </a:ext>
              </a:extLst>
            </p:cNvPr>
            <p:cNvSpPr/>
            <p:nvPr/>
          </p:nvSpPr>
          <p:spPr>
            <a:xfrm>
              <a:off x="5429977" y="3097842"/>
              <a:ext cx="47625" cy="314325"/>
            </a:xfrm>
            <a:custGeom>
              <a:avLst/>
              <a:gdLst>
                <a:gd name="connsiteX0" fmla="*/ 7144 w 47625"/>
                <a:gd name="connsiteY0" fmla="*/ 308096 h 314325"/>
                <a:gd name="connsiteX1" fmla="*/ 7144 w 47625"/>
                <a:gd name="connsiteY1" fmla="*/ 7144 h 314325"/>
                <a:gd name="connsiteX2" fmla="*/ 46291 w 47625"/>
                <a:gd name="connsiteY2" fmla="*/ 7144 h 314325"/>
                <a:gd name="connsiteX3" fmla="*/ 46291 w 47625"/>
                <a:gd name="connsiteY3" fmla="*/ 308096 h 314325"/>
                <a:gd name="connsiteX4" fmla="*/ 7144 w 47625"/>
                <a:gd name="connsiteY4" fmla="*/ 30809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314325">
                  <a:moveTo>
                    <a:pt x="7144" y="308096"/>
                  </a:moveTo>
                  <a:lnTo>
                    <a:pt x="7144" y="7144"/>
                  </a:lnTo>
                  <a:lnTo>
                    <a:pt x="46291" y="7144"/>
                  </a:lnTo>
                  <a:lnTo>
                    <a:pt x="46291" y="308096"/>
                  </a:lnTo>
                  <a:lnTo>
                    <a:pt x="7144" y="30809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1D28DCDF-0595-487A-A35C-48CF77618FF6}"/>
                </a:ext>
              </a:extLst>
            </p:cNvPr>
            <p:cNvSpPr/>
            <p:nvPr/>
          </p:nvSpPr>
          <p:spPr>
            <a:xfrm>
              <a:off x="5510958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5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2 w 123825"/>
                <a:gd name="connsiteY5" fmla="*/ 237468 h 304800"/>
                <a:gd name="connsiteX6" fmla="*/ 35862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2 w 123825"/>
                <a:gd name="connsiteY9" fmla="*/ 83296 h 304800"/>
                <a:gd name="connsiteX10" fmla="*/ 35862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1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5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2" y="259642"/>
                    <a:pt x="35862" y="237468"/>
                  </a:cubicBezTo>
                  <a:lnTo>
                    <a:pt x="35862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2" y="83296"/>
                  </a:lnTo>
                  <a:lnTo>
                    <a:pt x="35862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1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AF734EED-C36F-49C2-BE94-C215BF5082D8}"/>
                </a:ext>
              </a:extLst>
            </p:cNvPr>
            <p:cNvSpPr/>
            <p:nvPr/>
          </p:nvSpPr>
          <p:spPr>
            <a:xfrm>
              <a:off x="5645670" y="3175861"/>
              <a:ext cx="219075" cy="238125"/>
            </a:xfrm>
            <a:custGeom>
              <a:avLst/>
              <a:gdLst>
                <a:gd name="connsiteX0" fmla="*/ 171155 w 219075"/>
                <a:gd name="connsiteY0" fmla="*/ 203187 h 238125"/>
                <a:gd name="connsiteX1" fmla="*/ 129283 w 219075"/>
                <a:gd name="connsiteY1" fmla="*/ 227819 h 238125"/>
                <a:gd name="connsiteX2" fmla="*/ 86106 w 219075"/>
                <a:gd name="connsiteY2" fmla="*/ 235010 h 238125"/>
                <a:gd name="connsiteX3" fmla="*/ 27584 w 219075"/>
                <a:gd name="connsiteY3" fmla="*/ 217456 h 238125"/>
                <a:gd name="connsiteX4" fmla="*/ 7144 w 219075"/>
                <a:gd name="connsiteY4" fmla="*/ 172603 h 238125"/>
                <a:gd name="connsiteX5" fmla="*/ 14869 w 219075"/>
                <a:gd name="connsiteY5" fmla="*/ 143351 h 238125"/>
                <a:gd name="connsiteX6" fmla="*/ 35100 w 219075"/>
                <a:gd name="connsiteY6" fmla="*/ 122111 h 238125"/>
                <a:gd name="connsiteX7" fmla="*/ 63265 w 219075"/>
                <a:gd name="connsiteY7" fmla="*/ 109995 h 238125"/>
                <a:gd name="connsiteX8" fmla="*/ 98069 w 219075"/>
                <a:gd name="connsiteY8" fmla="*/ 104461 h 238125"/>
                <a:gd name="connsiteX9" fmla="*/ 167897 w 219075"/>
                <a:gd name="connsiteY9" fmla="*/ 91726 h 238125"/>
                <a:gd name="connsiteX10" fmla="*/ 168107 w 219075"/>
                <a:gd name="connsiteY10" fmla="*/ 82077 h 238125"/>
                <a:gd name="connsiteX11" fmla="*/ 157010 w 219075"/>
                <a:gd name="connsiteY11" fmla="*/ 50254 h 238125"/>
                <a:gd name="connsiteX12" fmla="*/ 112414 w 219075"/>
                <a:gd name="connsiteY12" fmla="*/ 37738 h 238125"/>
                <a:gd name="connsiteX13" fmla="*/ 71628 w 219075"/>
                <a:gd name="connsiteY13" fmla="*/ 46873 h 238125"/>
                <a:gd name="connsiteX14" fmla="*/ 52159 w 219075"/>
                <a:gd name="connsiteY14" fmla="*/ 79210 h 238125"/>
                <a:gd name="connsiteX15" fmla="*/ 13868 w 219075"/>
                <a:gd name="connsiteY15" fmla="*/ 74276 h 238125"/>
                <a:gd name="connsiteX16" fmla="*/ 31061 w 219075"/>
                <a:gd name="connsiteY16" fmla="*/ 36814 h 238125"/>
                <a:gd name="connsiteX17" fmla="*/ 65646 w 219075"/>
                <a:gd name="connsiteY17" fmla="*/ 14840 h 238125"/>
                <a:gd name="connsiteX18" fmla="*/ 118072 w 219075"/>
                <a:gd name="connsiteY18" fmla="*/ 7144 h 238125"/>
                <a:gd name="connsiteX19" fmla="*/ 166145 w 219075"/>
                <a:gd name="connsiteY19" fmla="*/ 13706 h 238125"/>
                <a:gd name="connsiteX20" fmla="*/ 193338 w 219075"/>
                <a:gd name="connsiteY20" fmla="*/ 30232 h 238125"/>
                <a:gd name="connsiteX21" fmla="*/ 205511 w 219075"/>
                <a:gd name="connsiteY21" fmla="*/ 55378 h 238125"/>
                <a:gd name="connsiteX22" fmla="*/ 207474 w 219075"/>
                <a:gd name="connsiteY22" fmla="*/ 89459 h 238125"/>
                <a:gd name="connsiteX23" fmla="*/ 207474 w 219075"/>
                <a:gd name="connsiteY23" fmla="*/ 138722 h 238125"/>
                <a:gd name="connsiteX24" fmla="*/ 209979 w 219075"/>
                <a:gd name="connsiteY24" fmla="*/ 203902 h 238125"/>
                <a:gd name="connsiteX25" fmla="*/ 219875 w 219075"/>
                <a:gd name="connsiteY25" fmla="*/ 230076 h 238125"/>
                <a:gd name="connsiteX26" fmla="*/ 178975 w 219075"/>
                <a:gd name="connsiteY26" fmla="*/ 230076 h 238125"/>
                <a:gd name="connsiteX27" fmla="*/ 171155 w 219075"/>
                <a:gd name="connsiteY27" fmla="*/ 203187 h 238125"/>
                <a:gd name="connsiteX28" fmla="*/ 167897 w 219075"/>
                <a:gd name="connsiteY28" fmla="*/ 120663 h 238125"/>
                <a:gd name="connsiteX29" fmla="*/ 103937 w 219075"/>
                <a:gd name="connsiteY29" fmla="*/ 134626 h 238125"/>
                <a:gd name="connsiteX30" fmla="*/ 69790 w 219075"/>
                <a:gd name="connsiteY30" fmla="*/ 142008 h 238125"/>
                <a:gd name="connsiteX31" fmla="*/ 54340 w 219075"/>
                <a:gd name="connsiteY31" fmla="*/ 154019 h 238125"/>
                <a:gd name="connsiteX32" fmla="*/ 48911 w 219075"/>
                <a:gd name="connsiteY32" fmla="*/ 171574 h 238125"/>
                <a:gd name="connsiteX33" fmla="*/ 60760 w 219075"/>
                <a:gd name="connsiteY33" fmla="*/ 196215 h 238125"/>
                <a:gd name="connsiteX34" fmla="*/ 95460 w 219075"/>
                <a:gd name="connsiteY34" fmla="*/ 206064 h 238125"/>
                <a:gd name="connsiteX35" fmla="*/ 135703 w 219075"/>
                <a:gd name="connsiteY35" fmla="*/ 196729 h 238125"/>
                <a:gd name="connsiteX36" fmla="*/ 161592 w 219075"/>
                <a:gd name="connsiteY36" fmla="*/ 171164 h 238125"/>
                <a:gd name="connsiteX37" fmla="*/ 167907 w 219075"/>
                <a:gd name="connsiteY37" fmla="*/ 134217 h 238125"/>
                <a:gd name="connsiteX38" fmla="*/ 167907 w 219075"/>
                <a:gd name="connsiteY38" fmla="*/ 120663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9075" h="238125">
                  <a:moveTo>
                    <a:pt x="171155" y="203187"/>
                  </a:moveTo>
                  <a:cubicBezTo>
                    <a:pt x="156658" y="214827"/>
                    <a:pt x="142694" y="223028"/>
                    <a:pt x="129283" y="227819"/>
                  </a:cubicBezTo>
                  <a:cubicBezTo>
                    <a:pt x="115862" y="232610"/>
                    <a:pt x="101470" y="235010"/>
                    <a:pt x="86106" y="235010"/>
                  </a:cubicBezTo>
                  <a:cubicBezTo>
                    <a:pt x="60722" y="235010"/>
                    <a:pt x="41215" y="229162"/>
                    <a:pt x="27584" y="217456"/>
                  </a:cubicBezTo>
                  <a:cubicBezTo>
                    <a:pt x="13944" y="205750"/>
                    <a:pt x="7144" y="190805"/>
                    <a:pt x="7144" y="172603"/>
                  </a:cubicBezTo>
                  <a:cubicBezTo>
                    <a:pt x="7144" y="161925"/>
                    <a:pt x="9715" y="152171"/>
                    <a:pt x="14869" y="143351"/>
                  </a:cubicBezTo>
                  <a:cubicBezTo>
                    <a:pt x="20012" y="134522"/>
                    <a:pt x="26756" y="127435"/>
                    <a:pt x="35100" y="122111"/>
                  </a:cubicBezTo>
                  <a:cubicBezTo>
                    <a:pt x="43434" y="116767"/>
                    <a:pt x="52826" y="112738"/>
                    <a:pt x="63265" y="109995"/>
                  </a:cubicBezTo>
                  <a:cubicBezTo>
                    <a:pt x="70952" y="108090"/>
                    <a:pt x="82544" y="106232"/>
                    <a:pt x="98069" y="104461"/>
                  </a:cubicBezTo>
                  <a:cubicBezTo>
                    <a:pt x="129673" y="100898"/>
                    <a:pt x="152962" y="96660"/>
                    <a:pt x="167897" y="91726"/>
                  </a:cubicBezTo>
                  <a:cubicBezTo>
                    <a:pt x="168040" y="86668"/>
                    <a:pt x="168107" y="83449"/>
                    <a:pt x="168107" y="82077"/>
                  </a:cubicBezTo>
                  <a:cubicBezTo>
                    <a:pt x="168107" y="67027"/>
                    <a:pt x="164402" y="56417"/>
                    <a:pt x="157010" y="50254"/>
                  </a:cubicBezTo>
                  <a:cubicBezTo>
                    <a:pt x="147009" y="41910"/>
                    <a:pt x="132140" y="37738"/>
                    <a:pt x="112414" y="37738"/>
                  </a:cubicBezTo>
                  <a:cubicBezTo>
                    <a:pt x="93993" y="37738"/>
                    <a:pt x="80410" y="40786"/>
                    <a:pt x="71628" y="46873"/>
                  </a:cubicBezTo>
                  <a:cubicBezTo>
                    <a:pt x="62855" y="52969"/>
                    <a:pt x="56359" y="63741"/>
                    <a:pt x="52159" y="79210"/>
                  </a:cubicBezTo>
                  <a:lnTo>
                    <a:pt x="13868" y="74276"/>
                  </a:lnTo>
                  <a:cubicBezTo>
                    <a:pt x="17354" y="58817"/>
                    <a:pt x="23079" y="46330"/>
                    <a:pt x="31061" y="36814"/>
                  </a:cubicBezTo>
                  <a:cubicBezTo>
                    <a:pt x="39033" y="27299"/>
                    <a:pt x="50568" y="19974"/>
                    <a:pt x="65646" y="14840"/>
                  </a:cubicBezTo>
                  <a:cubicBezTo>
                    <a:pt x="80734" y="9716"/>
                    <a:pt x="98203" y="7144"/>
                    <a:pt x="118072" y="7144"/>
                  </a:cubicBezTo>
                  <a:cubicBezTo>
                    <a:pt x="137789" y="7144"/>
                    <a:pt x="153819" y="9325"/>
                    <a:pt x="166145" y="13706"/>
                  </a:cubicBezTo>
                  <a:cubicBezTo>
                    <a:pt x="178470" y="18088"/>
                    <a:pt x="187538" y="23593"/>
                    <a:pt x="193338" y="30232"/>
                  </a:cubicBezTo>
                  <a:cubicBezTo>
                    <a:pt x="199130" y="36862"/>
                    <a:pt x="203197" y="45244"/>
                    <a:pt x="205511" y="55378"/>
                  </a:cubicBezTo>
                  <a:cubicBezTo>
                    <a:pt x="206826" y="61674"/>
                    <a:pt x="207474" y="73038"/>
                    <a:pt x="207474" y="89459"/>
                  </a:cubicBezTo>
                  <a:lnTo>
                    <a:pt x="207474" y="138722"/>
                  </a:lnTo>
                  <a:cubicBezTo>
                    <a:pt x="207474" y="173069"/>
                    <a:pt x="208302" y="194805"/>
                    <a:pt x="209979" y="203902"/>
                  </a:cubicBezTo>
                  <a:cubicBezTo>
                    <a:pt x="211646" y="213008"/>
                    <a:pt x="214941" y="221733"/>
                    <a:pt x="219875" y="230076"/>
                  </a:cubicBezTo>
                  <a:lnTo>
                    <a:pt x="178975" y="230076"/>
                  </a:lnTo>
                  <a:cubicBezTo>
                    <a:pt x="174927" y="222409"/>
                    <a:pt x="172317" y="213446"/>
                    <a:pt x="171155" y="203187"/>
                  </a:cubicBezTo>
                  <a:close/>
                  <a:moveTo>
                    <a:pt x="167897" y="120663"/>
                  </a:moveTo>
                  <a:cubicBezTo>
                    <a:pt x="153676" y="126140"/>
                    <a:pt x="132369" y="130788"/>
                    <a:pt x="103937" y="134626"/>
                  </a:cubicBezTo>
                  <a:cubicBezTo>
                    <a:pt x="87849" y="136808"/>
                    <a:pt x="76457" y="139275"/>
                    <a:pt x="69790" y="142008"/>
                  </a:cubicBezTo>
                  <a:cubicBezTo>
                    <a:pt x="63113" y="144751"/>
                    <a:pt x="57969" y="148752"/>
                    <a:pt x="54340" y="154019"/>
                  </a:cubicBezTo>
                  <a:cubicBezTo>
                    <a:pt x="50711" y="159296"/>
                    <a:pt x="48911" y="165144"/>
                    <a:pt x="48911" y="171574"/>
                  </a:cubicBezTo>
                  <a:cubicBezTo>
                    <a:pt x="48911" y="181432"/>
                    <a:pt x="52854" y="189633"/>
                    <a:pt x="60760" y="196215"/>
                  </a:cubicBezTo>
                  <a:cubicBezTo>
                    <a:pt x="68666" y="202778"/>
                    <a:pt x="80229" y="206064"/>
                    <a:pt x="95460" y="206064"/>
                  </a:cubicBezTo>
                  <a:cubicBezTo>
                    <a:pt x="110538" y="206064"/>
                    <a:pt x="123958" y="202949"/>
                    <a:pt x="135703" y="196729"/>
                  </a:cubicBezTo>
                  <a:cubicBezTo>
                    <a:pt x="147447" y="190500"/>
                    <a:pt x="156086" y="181985"/>
                    <a:pt x="161592" y="171164"/>
                  </a:cubicBezTo>
                  <a:cubicBezTo>
                    <a:pt x="165792" y="162820"/>
                    <a:pt x="167907" y="150504"/>
                    <a:pt x="167907" y="134217"/>
                  </a:cubicBezTo>
                  <a:lnTo>
                    <a:pt x="167907" y="120663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E151ED61-25C2-47B8-8880-0C23485713E2}"/>
                </a:ext>
              </a:extLst>
            </p:cNvPr>
            <p:cNvSpPr/>
            <p:nvPr/>
          </p:nvSpPr>
          <p:spPr>
            <a:xfrm>
              <a:off x="5909360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9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9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07955827-545D-4013-ACE8-1253A9729DFB}"/>
                </a:ext>
              </a:extLst>
            </p:cNvPr>
            <p:cNvSpPr/>
            <p:nvPr/>
          </p:nvSpPr>
          <p:spPr>
            <a:xfrm>
              <a:off x="6138265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4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1 w 123825"/>
                <a:gd name="connsiteY5" fmla="*/ 237468 h 304800"/>
                <a:gd name="connsiteX6" fmla="*/ 35861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1 w 123825"/>
                <a:gd name="connsiteY9" fmla="*/ 83296 h 304800"/>
                <a:gd name="connsiteX10" fmla="*/ 35861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0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4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1" y="259642"/>
                    <a:pt x="35861" y="237468"/>
                  </a:cubicBezTo>
                  <a:lnTo>
                    <a:pt x="35861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1" y="83296"/>
                  </a:lnTo>
                  <a:lnTo>
                    <a:pt x="35861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0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8A63F5CA-6FCA-4171-97D8-977E51744830}"/>
                </a:ext>
              </a:extLst>
            </p:cNvPr>
            <p:cNvSpPr/>
            <p:nvPr/>
          </p:nvSpPr>
          <p:spPr>
            <a:xfrm>
              <a:off x="6270577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8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8" y="80639"/>
                    <a:pt x="13668" y="69961"/>
                  </a:cubicBezTo>
                  <a:cubicBezTo>
                    <a:pt x="13668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2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54" name="Image 53">
            <a:extLst>
              <a:ext uri="{FF2B5EF4-FFF2-40B4-BE49-F238E27FC236}">
                <a16:creationId xmlns:a16="http://schemas.microsoft.com/office/drawing/2014/main" id="{FCFB04C9-7D55-4085-9FF1-1C3962FC34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06" t="11495" r="-115" b="5532"/>
          <a:stretch/>
        </p:blipFill>
        <p:spPr>
          <a:xfrm>
            <a:off x="6758124" y="0"/>
            <a:ext cx="3156198" cy="6858000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6D1C176-025E-4CA8-9783-62A452478E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677" y="5811006"/>
            <a:ext cx="1292956" cy="718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60328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  <p15:guide id="2" pos="42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D3AD9280-C50A-4389-916C-C99300C85A77}"/>
              </a:ext>
            </a:extLst>
          </p:cNvPr>
          <p:cNvCxnSpPr>
            <a:cxnSpLocks/>
          </p:cNvCxnSpPr>
          <p:nvPr/>
        </p:nvCxnSpPr>
        <p:spPr bwMode="auto">
          <a:xfrm>
            <a:off x="4945534" y="1800990"/>
            <a:ext cx="0" cy="44359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342221C4-A018-4C88-B0A9-86A25349D25E}"/>
              </a:ext>
            </a:extLst>
          </p:cNvPr>
          <p:cNvCxnSpPr>
            <a:cxnSpLocks/>
          </p:cNvCxnSpPr>
          <p:nvPr/>
        </p:nvCxnSpPr>
        <p:spPr bwMode="auto">
          <a:xfrm>
            <a:off x="330337" y="1781997"/>
            <a:ext cx="43464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C9BFB7F2-3F3F-4FB1-84A4-EDD49768EF51}"/>
              </a:ext>
            </a:extLst>
          </p:cNvPr>
          <p:cNvCxnSpPr/>
          <p:nvPr/>
        </p:nvCxnSpPr>
        <p:spPr bwMode="auto">
          <a:xfrm>
            <a:off x="2503581" y="4707510"/>
            <a:ext cx="0" cy="15268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: Rounded Corners 2">
            <a:extLst>
              <a:ext uri="{FF2B5EF4-FFF2-40B4-BE49-F238E27FC236}">
                <a16:creationId xmlns:a16="http://schemas.microsoft.com/office/drawing/2014/main" id="{3D72C06E-2873-460E-A6D7-8E222F992DCC}"/>
              </a:ext>
            </a:extLst>
          </p:cNvPr>
          <p:cNvSpPr/>
          <p:nvPr/>
        </p:nvSpPr>
        <p:spPr bwMode="auto">
          <a:xfrm>
            <a:off x="330337" y="2879539"/>
            <a:ext cx="4346489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36195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Education</a:t>
            </a:r>
          </a:p>
        </p:txBody>
      </p:sp>
      <p:sp>
        <p:nvSpPr>
          <p:cNvPr id="15" name="Rectangle: Rounded Corners 2">
            <a:extLst>
              <a:ext uri="{FF2B5EF4-FFF2-40B4-BE49-F238E27FC236}">
                <a16:creationId xmlns:a16="http://schemas.microsoft.com/office/drawing/2014/main" id="{03A72C7B-7E59-47C0-8DD7-7EBD1913A768}"/>
              </a:ext>
            </a:extLst>
          </p:cNvPr>
          <p:cNvSpPr/>
          <p:nvPr/>
        </p:nvSpPr>
        <p:spPr bwMode="auto">
          <a:xfrm>
            <a:off x="330337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Expertise</a:t>
            </a:r>
          </a:p>
        </p:txBody>
      </p:sp>
      <p:sp>
        <p:nvSpPr>
          <p:cNvPr id="16" name="Rectangle: Rounded Corners 2">
            <a:extLst>
              <a:ext uri="{FF2B5EF4-FFF2-40B4-BE49-F238E27FC236}">
                <a16:creationId xmlns:a16="http://schemas.microsoft.com/office/drawing/2014/main" id="{4B378ADC-C43C-4DE6-B565-DED0F9201B1C}"/>
              </a:ext>
            </a:extLst>
          </p:cNvPr>
          <p:cNvSpPr/>
          <p:nvPr/>
        </p:nvSpPr>
        <p:spPr bwMode="auto">
          <a:xfrm>
            <a:off x="2595545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Practices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CDDA3292-DBD2-4974-BF06-81D07E1A929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5938" y="4417814"/>
            <a:ext cx="168798" cy="160031"/>
          </a:xfrm>
          <a:custGeom>
            <a:avLst/>
            <a:gdLst>
              <a:gd name="T0" fmla="*/ 52 w 64"/>
              <a:gd name="T1" fmla="*/ 8 h 60"/>
              <a:gd name="T2" fmla="*/ 56 w 64"/>
              <a:gd name="T3" fmla="*/ 0 h 60"/>
              <a:gd name="T4" fmla="*/ 52 w 64"/>
              <a:gd name="T5" fmla="*/ 0 h 60"/>
              <a:gd name="T6" fmla="*/ 12 w 64"/>
              <a:gd name="T7" fmla="*/ 0 h 60"/>
              <a:gd name="T8" fmla="*/ 8 w 64"/>
              <a:gd name="T9" fmla="*/ 0 h 60"/>
              <a:gd name="T10" fmla="*/ 12 w 64"/>
              <a:gd name="T11" fmla="*/ 8 h 60"/>
              <a:gd name="T12" fmla="*/ 0 w 64"/>
              <a:gd name="T13" fmla="*/ 8 h 60"/>
              <a:gd name="T14" fmla="*/ 0 w 64"/>
              <a:gd name="T15" fmla="*/ 18 h 60"/>
              <a:gd name="T16" fmla="*/ 14 w 64"/>
              <a:gd name="T17" fmla="*/ 32 h 60"/>
              <a:gd name="T18" fmla="*/ 28 w 64"/>
              <a:gd name="T19" fmla="*/ 44 h 60"/>
              <a:gd name="T20" fmla="*/ 28 w 64"/>
              <a:gd name="T21" fmla="*/ 48 h 60"/>
              <a:gd name="T22" fmla="*/ 8 w 64"/>
              <a:gd name="T23" fmla="*/ 56 h 60"/>
              <a:gd name="T24" fmla="*/ 8 w 64"/>
              <a:gd name="T25" fmla="*/ 60 h 60"/>
              <a:gd name="T26" fmla="*/ 32 w 64"/>
              <a:gd name="T27" fmla="*/ 60 h 60"/>
              <a:gd name="T28" fmla="*/ 56 w 64"/>
              <a:gd name="T29" fmla="*/ 60 h 60"/>
              <a:gd name="T30" fmla="*/ 56 w 64"/>
              <a:gd name="T31" fmla="*/ 56 h 60"/>
              <a:gd name="T32" fmla="*/ 36 w 64"/>
              <a:gd name="T33" fmla="*/ 48 h 60"/>
              <a:gd name="T34" fmla="*/ 36 w 64"/>
              <a:gd name="T35" fmla="*/ 44 h 60"/>
              <a:gd name="T36" fmla="*/ 51 w 64"/>
              <a:gd name="T37" fmla="*/ 32 h 60"/>
              <a:gd name="T38" fmla="*/ 64 w 64"/>
              <a:gd name="T39" fmla="*/ 18 h 60"/>
              <a:gd name="T40" fmla="*/ 64 w 64"/>
              <a:gd name="T41" fmla="*/ 8 h 60"/>
              <a:gd name="T42" fmla="*/ 52 w 64"/>
              <a:gd name="T43" fmla="*/ 8 h 60"/>
              <a:gd name="T44" fmla="*/ 12 w 64"/>
              <a:gd name="T45" fmla="*/ 28 h 60"/>
              <a:gd name="T46" fmla="*/ 4 w 64"/>
              <a:gd name="T47" fmla="*/ 18 h 60"/>
              <a:gd name="T48" fmla="*/ 4 w 64"/>
              <a:gd name="T49" fmla="*/ 12 h 60"/>
              <a:gd name="T50" fmla="*/ 12 w 64"/>
              <a:gd name="T51" fmla="*/ 12 h 60"/>
              <a:gd name="T52" fmla="*/ 12 w 64"/>
              <a:gd name="T53" fmla="*/ 28 h 60"/>
              <a:gd name="T54" fmla="*/ 38 w 64"/>
              <a:gd name="T55" fmla="*/ 23 h 60"/>
              <a:gd name="T56" fmla="*/ 41 w 64"/>
              <a:gd name="T57" fmla="*/ 34 h 60"/>
              <a:gd name="T58" fmla="*/ 32 w 64"/>
              <a:gd name="T59" fmla="*/ 28 h 60"/>
              <a:gd name="T60" fmla="*/ 23 w 64"/>
              <a:gd name="T61" fmla="*/ 34 h 60"/>
              <a:gd name="T62" fmla="*/ 26 w 64"/>
              <a:gd name="T63" fmla="*/ 23 h 60"/>
              <a:gd name="T64" fmla="*/ 18 w 64"/>
              <a:gd name="T65" fmla="*/ 17 h 60"/>
              <a:gd name="T66" fmla="*/ 29 w 64"/>
              <a:gd name="T67" fmla="*/ 17 h 60"/>
              <a:gd name="T68" fmla="*/ 32 w 64"/>
              <a:gd name="T69" fmla="*/ 6 h 60"/>
              <a:gd name="T70" fmla="*/ 36 w 64"/>
              <a:gd name="T71" fmla="*/ 17 h 60"/>
              <a:gd name="T72" fmla="*/ 47 w 64"/>
              <a:gd name="T73" fmla="*/ 17 h 60"/>
              <a:gd name="T74" fmla="*/ 38 w 64"/>
              <a:gd name="T75" fmla="*/ 23 h 60"/>
              <a:gd name="T76" fmla="*/ 60 w 64"/>
              <a:gd name="T77" fmla="*/ 18 h 60"/>
              <a:gd name="T78" fmla="*/ 52 w 64"/>
              <a:gd name="T79" fmla="*/ 28 h 60"/>
              <a:gd name="T80" fmla="*/ 52 w 64"/>
              <a:gd name="T81" fmla="*/ 12 h 60"/>
              <a:gd name="T82" fmla="*/ 60 w 64"/>
              <a:gd name="T83" fmla="*/ 12 h 60"/>
              <a:gd name="T84" fmla="*/ 60 w 64"/>
              <a:gd name="T85" fmla="*/ 1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4" h="60">
                <a:moveTo>
                  <a:pt x="52" y="8"/>
                </a:moveTo>
                <a:cubicBezTo>
                  <a:pt x="56" y="0"/>
                  <a:pt x="56" y="0"/>
                  <a:pt x="56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8"/>
                  <a:pt x="12" y="8"/>
                  <a:pt x="12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2"/>
                  <a:pt x="0" y="30"/>
                  <a:pt x="14" y="32"/>
                </a:cubicBezTo>
                <a:cubicBezTo>
                  <a:pt x="17" y="38"/>
                  <a:pt x="22" y="42"/>
                  <a:pt x="28" y="44"/>
                </a:cubicBezTo>
                <a:cubicBezTo>
                  <a:pt x="28" y="45"/>
                  <a:pt x="28" y="47"/>
                  <a:pt x="28" y="48"/>
                </a:cubicBezTo>
                <a:cubicBezTo>
                  <a:pt x="28" y="56"/>
                  <a:pt x="12" y="56"/>
                  <a:pt x="8" y="56"/>
                </a:cubicBezTo>
                <a:cubicBezTo>
                  <a:pt x="8" y="60"/>
                  <a:pt x="8" y="60"/>
                  <a:pt x="8" y="60"/>
                </a:cubicBezTo>
                <a:cubicBezTo>
                  <a:pt x="32" y="60"/>
                  <a:pt x="32" y="60"/>
                  <a:pt x="32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6" y="60"/>
                  <a:pt x="56" y="60"/>
                  <a:pt x="56" y="56"/>
                </a:cubicBezTo>
                <a:cubicBezTo>
                  <a:pt x="52" y="56"/>
                  <a:pt x="36" y="56"/>
                  <a:pt x="36" y="48"/>
                </a:cubicBezTo>
                <a:cubicBezTo>
                  <a:pt x="36" y="47"/>
                  <a:pt x="36" y="45"/>
                  <a:pt x="36" y="44"/>
                </a:cubicBezTo>
                <a:cubicBezTo>
                  <a:pt x="43" y="42"/>
                  <a:pt x="48" y="38"/>
                  <a:pt x="51" y="32"/>
                </a:cubicBezTo>
                <a:cubicBezTo>
                  <a:pt x="64" y="30"/>
                  <a:pt x="64" y="22"/>
                  <a:pt x="64" y="18"/>
                </a:cubicBezTo>
                <a:cubicBezTo>
                  <a:pt x="64" y="8"/>
                  <a:pt x="64" y="8"/>
                  <a:pt x="64" y="8"/>
                </a:cubicBezTo>
                <a:lnTo>
                  <a:pt x="52" y="8"/>
                </a:lnTo>
                <a:close/>
                <a:moveTo>
                  <a:pt x="12" y="28"/>
                </a:moveTo>
                <a:cubicBezTo>
                  <a:pt x="4" y="26"/>
                  <a:pt x="4" y="21"/>
                  <a:pt x="4" y="18"/>
                </a:cubicBezTo>
                <a:cubicBezTo>
                  <a:pt x="4" y="12"/>
                  <a:pt x="4" y="12"/>
                  <a:pt x="4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28"/>
                </a:lnTo>
                <a:close/>
                <a:moveTo>
                  <a:pt x="38" y="23"/>
                </a:moveTo>
                <a:cubicBezTo>
                  <a:pt x="41" y="34"/>
                  <a:pt x="41" y="34"/>
                  <a:pt x="41" y="34"/>
                </a:cubicBezTo>
                <a:cubicBezTo>
                  <a:pt x="32" y="28"/>
                  <a:pt x="32" y="28"/>
                  <a:pt x="32" y="28"/>
                </a:cubicBezTo>
                <a:cubicBezTo>
                  <a:pt x="23" y="34"/>
                  <a:pt x="23" y="34"/>
                  <a:pt x="23" y="34"/>
                </a:cubicBezTo>
                <a:cubicBezTo>
                  <a:pt x="26" y="23"/>
                  <a:pt x="26" y="23"/>
                  <a:pt x="26" y="23"/>
                </a:cubicBezTo>
                <a:cubicBezTo>
                  <a:pt x="18" y="17"/>
                  <a:pt x="18" y="17"/>
                  <a:pt x="18" y="17"/>
                </a:cubicBezTo>
                <a:cubicBezTo>
                  <a:pt x="29" y="17"/>
                  <a:pt x="29" y="17"/>
                  <a:pt x="29" y="17"/>
                </a:cubicBezTo>
                <a:cubicBezTo>
                  <a:pt x="32" y="6"/>
                  <a:pt x="32" y="6"/>
                  <a:pt x="32" y="6"/>
                </a:cubicBezTo>
                <a:cubicBezTo>
                  <a:pt x="36" y="17"/>
                  <a:pt x="36" y="17"/>
                  <a:pt x="36" y="17"/>
                </a:cubicBezTo>
                <a:cubicBezTo>
                  <a:pt x="47" y="17"/>
                  <a:pt x="47" y="17"/>
                  <a:pt x="47" y="17"/>
                </a:cubicBezTo>
                <a:lnTo>
                  <a:pt x="38" y="23"/>
                </a:lnTo>
                <a:close/>
                <a:moveTo>
                  <a:pt x="60" y="18"/>
                </a:moveTo>
                <a:cubicBezTo>
                  <a:pt x="60" y="21"/>
                  <a:pt x="60" y="26"/>
                  <a:pt x="52" y="28"/>
                </a:cubicBezTo>
                <a:cubicBezTo>
                  <a:pt x="52" y="12"/>
                  <a:pt x="52" y="12"/>
                  <a:pt x="52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8" name="Group 9">
            <a:extLst>
              <a:ext uri="{FF2B5EF4-FFF2-40B4-BE49-F238E27FC236}">
                <a16:creationId xmlns:a16="http://schemas.microsoft.com/office/drawing/2014/main" id="{750C3B9C-3566-4671-AF85-5E5A985523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65528" y="4414484"/>
            <a:ext cx="160033" cy="160033"/>
            <a:chOff x="-1" y="0"/>
            <a:chExt cx="77" cy="77"/>
          </a:xfrm>
          <a:solidFill>
            <a:schemeClr val="tx2"/>
          </a:solidFill>
        </p:grpSpPr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C7F39E5E-E730-4E96-AE1E-2288CF225E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" y="29"/>
              <a:ext cx="77" cy="48"/>
            </a:xfrm>
            <a:custGeom>
              <a:avLst/>
              <a:gdLst>
                <a:gd name="T0" fmla="*/ 56 w 64"/>
                <a:gd name="T1" fmla="*/ 4 h 40"/>
                <a:gd name="T2" fmla="*/ 58 w 64"/>
                <a:gd name="T3" fmla="*/ 4 h 40"/>
                <a:gd name="T4" fmla="*/ 60 w 64"/>
                <a:gd name="T5" fmla="*/ 2 h 40"/>
                <a:gd name="T6" fmla="*/ 60 w 64"/>
                <a:gd name="T7" fmla="*/ 0 h 40"/>
                <a:gd name="T8" fmla="*/ 4 w 64"/>
                <a:gd name="T9" fmla="*/ 0 h 40"/>
                <a:gd name="T10" fmla="*/ 4 w 64"/>
                <a:gd name="T11" fmla="*/ 2 h 40"/>
                <a:gd name="T12" fmla="*/ 6 w 64"/>
                <a:gd name="T13" fmla="*/ 4 h 40"/>
                <a:gd name="T14" fmla="*/ 8 w 64"/>
                <a:gd name="T15" fmla="*/ 4 h 40"/>
                <a:gd name="T16" fmla="*/ 8 w 64"/>
                <a:gd name="T17" fmla="*/ 32 h 40"/>
                <a:gd name="T18" fmla="*/ 0 w 64"/>
                <a:gd name="T19" fmla="*/ 40 h 40"/>
                <a:gd name="T20" fmla="*/ 64 w 64"/>
                <a:gd name="T21" fmla="*/ 40 h 40"/>
                <a:gd name="T22" fmla="*/ 56 w 64"/>
                <a:gd name="T23" fmla="*/ 32 h 40"/>
                <a:gd name="T24" fmla="*/ 56 w 64"/>
                <a:gd name="T25" fmla="*/ 4 h 40"/>
                <a:gd name="T26" fmla="*/ 12 w 64"/>
                <a:gd name="T27" fmla="*/ 32 h 40"/>
                <a:gd name="T28" fmla="*/ 12 w 64"/>
                <a:gd name="T29" fmla="*/ 4 h 40"/>
                <a:gd name="T30" fmla="*/ 20 w 64"/>
                <a:gd name="T31" fmla="*/ 4 h 40"/>
                <a:gd name="T32" fmla="*/ 20 w 64"/>
                <a:gd name="T33" fmla="*/ 32 h 40"/>
                <a:gd name="T34" fmla="*/ 12 w 64"/>
                <a:gd name="T35" fmla="*/ 32 h 40"/>
                <a:gd name="T36" fmla="*/ 28 w 64"/>
                <a:gd name="T37" fmla="*/ 32 h 40"/>
                <a:gd name="T38" fmla="*/ 28 w 64"/>
                <a:gd name="T39" fmla="*/ 4 h 40"/>
                <a:gd name="T40" fmla="*/ 36 w 64"/>
                <a:gd name="T41" fmla="*/ 4 h 40"/>
                <a:gd name="T42" fmla="*/ 36 w 64"/>
                <a:gd name="T43" fmla="*/ 32 h 40"/>
                <a:gd name="T44" fmla="*/ 28 w 64"/>
                <a:gd name="T45" fmla="*/ 32 h 40"/>
                <a:gd name="T46" fmla="*/ 44 w 64"/>
                <a:gd name="T47" fmla="*/ 32 h 40"/>
                <a:gd name="T48" fmla="*/ 44 w 64"/>
                <a:gd name="T49" fmla="*/ 4 h 40"/>
                <a:gd name="T50" fmla="*/ 52 w 64"/>
                <a:gd name="T51" fmla="*/ 4 h 40"/>
                <a:gd name="T52" fmla="*/ 52 w 64"/>
                <a:gd name="T53" fmla="*/ 32 h 40"/>
                <a:gd name="T54" fmla="*/ 44 w 64"/>
                <a:gd name="T5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" h="40">
                  <a:moveTo>
                    <a:pt x="56" y="4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60" y="4"/>
                    <a:pt x="60" y="3"/>
                    <a:pt x="60" y="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5" y="4"/>
                    <a:pt x="6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56" y="4"/>
                  </a:lnTo>
                  <a:close/>
                  <a:moveTo>
                    <a:pt x="12" y="32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2"/>
                    <a:pt x="20" y="32"/>
                    <a:pt x="20" y="32"/>
                  </a:cubicBezTo>
                  <a:lnTo>
                    <a:pt x="12" y="32"/>
                  </a:lnTo>
                  <a:close/>
                  <a:moveTo>
                    <a:pt x="28" y="32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2"/>
                    <a:pt x="36" y="32"/>
                    <a:pt x="36" y="32"/>
                  </a:cubicBezTo>
                  <a:lnTo>
                    <a:pt x="28" y="32"/>
                  </a:lnTo>
                  <a:close/>
                  <a:moveTo>
                    <a:pt x="44" y="32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32"/>
                    <a:pt x="52" y="32"/>
                    <a:pt x="52" y="32"/>
                  </a:cubicBezTo>
                  <a:lnTo>
                    <a:pt x="4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73839C7E-332B-41DB-835A-C815C9F56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" y="0"/>
              <a:ext cx="77" cy="24"/>
            </a:xfrm>
            <a:custGeom>
              <a:avLst/>
              <a:gdLst>
                <a:gd name="T0" fmla="*/ 77 w 77"/>
                <a:gd name="T1" fmla="*/ 24 h 24"/>
                <a:gd name="T2" fmla="*/ 38 w 77"/>
                <a:gd name="T3" fmla="*/ 0 h 24"/>
                <a:gd name="T4" fmla="*/ 0 w 77"/>
                <a:gd name="T5" fmla="*/ 24 h 24"/>
                <a:gd name="T6" fmla="*/ 77 w 77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24">
                  <a:moveTo>
                    <a:pt x="77" y="24"/>
                  </a:moveTo>
                  <a:lnTo>
                    <a:pt x="38" y="0"/>
                  </a:lnTo>
                  <a:lnTo>
                    <a:pt x="0" y="24"/>
                  </a:lnTo>
                  <a:lnTo>
                    <a:pt x="7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" name="Rectangle: Rounded Corners 2">
            <a:extLst>
              <a:ext uri="{FF2B5EF4-FFF2-40B4-BE49-F238E27FC236}">
                <a16:creationId xmlns:a16="http://schemas.microsoft.com/office/drawing/2014/main" id="{C4183B58-D5CE-45E1-A845-EF7D3AF12B88}"/>
              </a:ext>
            </a:extLst>
          </p:cNvPr>
          <p:cNvSpPr/>
          <p:nvPr/>
        </p:nvSpPr>
        <p:spPr bwMode="auto">
          <a:xfrm>
            <a:off x="5214242" y="2884087"/>
            <a:ext cx="4346489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36195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Education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95BC99D-2D28-4463-9948-407C171BD2CA}"/>
              </a:ext>
            </a:extLst>
          </p:cNvPr>
          <p:cNvCxnSpPr>
            <a:cxnSpLocks/>
          </p:cNvCxnSpPr>
          <p:nvPr/>
        </p:nvCxnSpPr>
        <p:spPr bwMode="auto">
          <a:xfrm>
            <a:off x="5214242" y="1781997"/>
            <a:ext cx="43464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Rectangle: Rounded Corners 2">
            <a:extLst>
              <a:ext uri="{FF2B5EF4-FFF2-40B4-BE49-F238E27FC236}">
                <a16:creationId xmlns:a16="http://schemas.microsoft.com/office/drawing/2014/main" id="{A659BCE0-AECB-4A93-8931-C1E66492BC25}"/>
              </a:ext>
            </a:extLst>
          </p:cNvPr>
          <p:cNvSpPr/>
          <p:nvPr/>
        </p:nvSpPr>
        <p:spPr bwMode="auto">
          <a:xfrm>
            <a:off x="5214243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Expertise</a:t>
            </a:r>
          </a:p>
        </p:txBody>
      </p:sp>
      <p:sp>
        <p:nvSpPr>
          <p:cNvPr id="27" name="Rectangle: Rounded Corners 2">
            <a:extLst>
              <a:ext uri="{FF2B5EF4-FFF2-40B4-BE49-F238E27FC236}">
                <a16:creationId xmlns:a16="http://schemas.microsoft.com/office/drawing/2014/main" id="{12855A7B-6042-4B0E-9C23-9D5F2FF3FB67}"/>
              </a:ext>
            </a:extLst>
          </p:cNvPr>
          <p:cNvSpPr/>
          <p:nvPr/>
        </p:nvSpPr>
        <p:spPr bwMode="auto">
          <a:xfrm>
            <a:off x="7479451" y="4373895"/>
            <a:ext cx="2081280" cy="254337"/>
          </a:xfrm>
          <a:prstGeom prst="roundRect">
            <a:avLst>
              <a:gd name="adj" fmla="val 1809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446088" indent="88900"/>
            <a:r>
              <a:rPr lang="en-US" b="1" cap="small">
                <a:solidFill>
                  <a:schemeClr val="tx2"/>
                </a:solidFill>
                <a:latin typeface="Trebuchet MS" pitchFamily="34" charset="0"/>
              </a:rPr>
              <a:t>     Practices</a:t>
            </a:r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2D4B1C54-9083-4DC7-BAEF-6F7CE20BBE1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79844" y="4417814"/>
            <a:ext cx="168798" cy="160031"/>
          </a:xfrm>
          <a:custGeom>
            <a:avLst/>
            <a:gdLst>
              <a:gd name="T0" fmla="*/ 52 w 64"/>
              <a:gd name="T1" fmla="*/ 8 h 60"/>
              <a:gd name="T2" fmla="*/ 56 w 64"/>
              <a:gd name="T3" fmla="*/ 0 h 60"/>
              <a:gd name="T4" fmla="*/ 52 w 64"/>
              <a:gd name="T5" fmla="*/ 0 h 60"/>
              <a:gd name="T6" fmla="*/ 12 w 64"/>
              <a:gd name="T7" fmla="*/ 0 h 60"/>
              <a:gd name="T8" fmla="*/ 8 w 64"/>
              <a:gd name="T9" fmla="*/ 0 h 60"/>
              <a:gd name="T10" fmla="*/ 12 w 64"/>
              <a:gd name="T11" fmla="*/ 8 h 60"/>
              <a:gd name="T12" fmla="*/ 0 w 64"/>
              <a:gd name="T13" fmla="*/ 8 h 60"/>
              <a:gd name="T14" fmla="*/ 0 w 64"/>
              <a:gd name="T15" fmla="*/ 18 h 60"/>
              <a:gd name="T16" fmla="*/ 14 w 64"/>
              <a:gd name="T17" fmla="*/ 32 h 60"/>
              <a:gd name="T18" fmla="*/ 28 w 64"/>
              <a:gd name="T19" fmla="*/ 44 h 60"/>
              <a:gd name="T20" fmla="*/ 28 w 64"/>
              <a:gd name="T21" fmla="*/ 48 h 60"/>
              <a:gd name="T22" fmla="*/ 8 w 64"/>
              <a:gd name="T23" fmla="*/ 56 h 60"/>
              <a:gd name="T24" fmla="*/ 8 w 64"/>
              <a:gd name="T25" fmla="*/ 60 h 60"/>
              <a:gd name="T26" fmla="*/ 32 w 64"/>
              <a:gd name="T27" fmla="*/ 60 h 60"/>
              <a:gd name="T28" fmla="*/ 56 w 64"/>
              <a:gd name="T29" fmla="*/ 60 h 60"/>
              <a:gd name="T30" fmla="*/ 56 w 64"/>
              <a:gd name="T31" fmla="*/ 56 h 60"/>
              <a:gd name="T32" fmla="*/ 36 w 64"/>
              <a:gd name="T33" fmla="*/ 48 h 60"/>
              <a:gd name="T34" fmla="*/ 36 w 64"/>
              <a:gd name="T35" fmla="*/ 44 h 60"/>
              <a:gd name="T36" fmla="*/ 51 w 64"/>
              <a:gd name="T37" fmla="*/ 32 h 60"/>
              <a:gd name="T38" fmla="*/ 64 w 64"/>
              <a:gd name="T39" fmla="*/ 18 h 60"/>
              <a:gd name="T40" fmla="*/ 64 w 64"/>
              <a:gd name="T41" fmla="*/ 8 h 60"/>
              <a:gd name="T42" fmla="*/ 52 w 64"/>
              <a:gd name="T43" fmla="*/ 8 h 60"/>
              <a:gd name="T44" fmla="*/ 12 w 64"/>
              <a:gd name="T45" fmla="*/ 28 h 60"/>
              <a:gd name="T46" fmla="*/ 4 w 64"/>
              <a:gd name="T47" fmla="*/ 18 h 60"/>
              <a:gd name="T48" fmla="*/ 4 w 64"/>
              <a:gd name="T49" fmla="*/ 12 h 60"/>
              <a:gd name="T50" fmla="*/ 12 w 64"/>
              <a:gd name="T51" fmla="*/ 12 h 60"/>
              <a:gd name="T52" fmla="*/ 12 w 64"/>
              <a:gd name="T53" fmla="*/ 28 h 60"/>
              <a:gd name="T54" fmla="*/ 38 w 64"/>
              <a:gd name="T55" fmla="*/ 23 h 60"/>
              <a:gd name="T56" fmla="*/ 41 w 64"/>
              <a:gd name="T57" fmla="*/ 34 h 60"/>
              <a:gd name="T58" fmla="*/ 32 w 64"/>
              <a:gd name="T59" fmla="*/ 28 h 60"/>
              <a:gd name="T60" fmla="*/ 23 w 64"/>
              <a:gd name="T61" fmla="*/ 34 h 60"/>
              <a:gd name="T62" fmla="*/ 26 w 64"/>
              <a:gd name="T63" fmla="*/ 23 h 60"/>
              <a:gd name="T64" fmla="*/ 18 w 64"/>
              <a:gd name="T65" fmla="*/ 17 h 60"/>
              <a:gd name="T66" fmla="*/ 29 w 64"/>
              <a:gd name="T67" fmla="*/ 17 h 60"/>
              <a:gd name="T68" fmla="*/ 32 w 64"/>
              <a:gd name="T69" fmla="*/ 6 h 60"/>
              <a:gd name="T70" fmla="*/ 36 w 64"/>
              <a:gd name="T71" fmla="*/ 17 h 60"/>
              <a:gd name="T72" fmla="*/ 47 w 64"/>
              <a:gd name="T73" fmla="*/ 17 h 60"/>
              <a:gd name="T74" fmla="*/ 38 w 64"/>
              <a:gd name="T75" fmla="*/ 23 h 60"/>
              <a:gd name="T76" fmla="*/ 60 w 64"/>
              <a:gd name="T77" fmla="*/ 18 h 60"/>
              <a:gd name="T78" fmla="*/ 52 w 64"/>
              <a:gd name="T79" fmla="*/ 28 h 60"/>
              <a:gd name="T80" fmla="*/ 52 w 64"/>
              <a:gd name="T81" fmla="*/ 12 h 60"/>
              <a:gd name="T82" fmla="*/ 60 w 64"/>
              <a:gd name="T83" fmla="*/ 12 h 60"/>
              <a:gd name="T84" fmla="*/ 60 w 64"/>
              <a:gd name="T85" fmla="*/ 1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4" h="60">
                <a:moveTo>
                  <a:pt x="52" y="8"/>
                </a:moveTo>
                <a:cubicBezTo>
                  <a:pt x="56" y="0"/>
                  <a:pt x="56" y="0"/>
                  <a:pt x="56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8"/>
                  <a:pt x="12" y="8"/>
                  <a:pt x="12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2"/>
                  <a:pt x="0" y="30"/>
                  <a:pt x="14" y="32"/>
                </a:cubicBezTo>
                <a:cubicBezTo>
                  <a:pt x="17" y="38"/>
                  <a:pt x="22" y="42"/>
                  <a:pt x="28" y="44"/>
                </a:cubicBezTo>
                <a:cubicBezTo>
                  <a:pt x="28" y="45"/>
                  <a:pt x="28" y="47"/>
                  <a:pt x="28" y="48"/>
                </a:cubicBezTo>
                <a:cubicBezTo>
                  <a:pt x="28" y="56"/>
                  <a:pt x="12" y="56"/>
                  <a:pt x="8" y="56"/>
                </a:cubicBezTo>
                <a:cubicBezTo>
                  <a:pt x="8" y="60"/>
                  <a:pt x="8" y="60"/>
                  <a:pt x="8" y="60"/>
                </a:cubicBezTo>
                <a:cubicBezTo>
                  <a:pt x="32" y="60"/>
                  <a:pt x="32" y="60"/>
                  <a:pt x="32" y="60"/>
                </a:cubicBezTo>
                <a:cubicBezTo>
                  <a:pt x="56" y="60"/>
                  <a:pt x="56" y="60"/>
                  <a:pt x="56" y="60"/>
                </a:cubicBezTo>
                <a:cubicBezTo>
                  <a:pt x="56" y="60"/>
                  <a:pt x="56" y="60"/>
                  <a:pt x="56" y="56"/>
                </a:cubicBezTo>
                <a:cubicBezTo>
                  <a:pt x="52" y="56"/>
                  <a:pt x="36" y="56"/>
                  <a:pt x="36" y="48"/>
                </a:cubicBezTo>
                <a:cubicBezTo>
                  <a:pt x="36" y="47"/>
                  <a:pt x="36" y="45"/>
                  <a:pt x="36" y="44"/>
                </a:cubicBezTo>
                <a:cubicBezTo>
                  <a:pt x="43" y="42"/>
                  <a:pt x="48" y="38"/>
                  <a:pt x="51" y="32"/>
                </a:cubicBezTo>
                <a:cubicBezTo>
                  <a:pt x="64" y="30"/>
                  <a:pt x="64" y="22"/>
                  <a:pt x="64" y="18"/>
                </a:cubicBezTo>
                <a:cubicBezTo>
                  <a:pt x="64" y="8"/>
                  <a:pt x="64" y="8"/>
                  <a:pt x="64" y="8"/>
                </a:cubicBezTo>
                <a:lnTo>
                  <a:pt x="52" y="8"/>
                </a:lnTo>
                <a:close/>
                <a:moveTo>
                  <a:pt x="12" y="28"/>
                </a:moveTo>
                <a:cubicBezTo>
                  <a:pt x="4" y="26"/>
                  <a:pt x="4" y="21"/>
                  <a:pt x="4" y="18"/>
                </a:cubicBezTo>
                <a:cubicBezTo>
                  <a:pt x="4" y="12"/>
                  <a:pt x="4" y="12"/>
                  <a:pt x="4" y="12"/>
                </a:cubicBezTo>
                <a:cubicBezTo>
                  <a:pt x="12" y="12"/>
                  <a:pt x="12" y="12"/>
                  <a:pt x="12" y="12"/>
                </a:cubicBezTo>
                <a:lnTo>
                  <a:pt x="12" y="28"/>
                </a:lnTo>
                <a:close/>
                <a:moveTo>
                  <a:pt x="38" y="23"/>
                </a:moveTo>
                <a:cubicBezTo>
                  <a:pt x="41" y="34"/>
                  <a:pt x="41" y="34"/>
                  <a:pt x="41" y="34"/>
                </a:cubicBezTo>
                <a:cubicBezTo>
                  <a:pt x="32" y="28"/>
                  <a:pt x="32" y="28"/>
                  <a:pt x="32" y="28"/>
                </a:cubicBezTo>
                <a:cubicBezTo>
                  <a:pt x="23" y="34"/>
                  <a:pt x="23" y="34"/>
                  <a:pt x="23" y="34"/>
                </a:cubicBezTo>
                <a:cubicBezTo>
                  <a:pt x="26" y="23"/>
                  <a:pt x="26" y="23"/>
                  <a:pt x="26" y="23"/>
                </a:cubicBezTo>
                <a:cubicBezTo>
                  <a:pt x="18" y="17"/>
                  <a:pt x="18" y="17"/>
                  <a:pt x="18" y="17"/>
                </a:cubicBezTo>
                <a:cubicBezTo>
                  <a:pt x="29" y="17"/>
                  <a:pt x="29" y="17"/>
                  <a:pt x="29" y="17"/>
                </a:cubicBezTo>
                <a:cubicBezTo>
                  <a:pt x="32" y="6"/>
                  <a:pt x="32" y="6"/>
                  <a:pt x="32" y="6"/>
                </a:cubicBezTo>
                <a:cubicBezTo>
                  <a:pt x="36" y="17"/>
                  <a:pt x="36" y="17"/>
                  <a:pt x="36" y="17"/>
                </a:cubicBezTo>
                <a:cubicBezTo>
                  <a:pt x="47" y="17"/>
                  <a:pt x="47" y="17"/>
                  <a:pt x="47" y="17"/>
                </a:cubicBezTo>
                <a:lnTo>
                  <a:pt x="38" y="23"/>
                </a:lnTo>
                <a:close/>
                <a:moveTo>
                  <a:pt x="60" y="18"/>
                </a:moveTo>
                <a:cubicBezTo>
                  <a:pt x="60" y="21"/>
                  <a:pt x="60" y="26"/>
                  <a:pt x="52" y="28"/>
                </a:cubicBezTo>
                <a:cubicBezTo>
                  <a:pt x="52" y="12"/>
                  <a:pt x="52" y="12"/>
                  <a:pt x="52" y="12"/>
                </a:cubicBezTo>
                <a:cubicBezTo>
                  <a:pt x="60" y="12"/>
                  <a:pt x="60" y="12"/>
                  <a:pt x="60" y="12"/>
                </a:cubicBezTo>
                <a:lnTo>
                  <a:pt x="60" y="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31" name="Group 9">
            <a:extLst>
              <a:ext uri="{FF2B5EF4-FFF2-40B4-BE49-F238E27FC236}">
                <a16:creationId xmlns:a16="http://schemas.microsoft.com/office/drawing/2014/main" id="{B556EE8A-7D27-44BC-92BF-492AB1DD4E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9434" y="4414484"/>
            <a:ext cx="160033" cy="160033"/>
            <a:chOff x="-1" y="0"/>
            <a:chExt cx="77" cy="77"/>
          </a:xfrm>
          <a:solidFill>
            <a:schemeClr val="tx2"/>
          </a:solidFill>
        </p:grpSpPr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AFE975E-536B-4ACF-BAC5-EC7B04053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" y="29"/>
              <a:ext cx="77" cy="48"/>
            </a:xfrm>
            <a:custGeom>
              <a:avLst/>
              <a:gdLst>
                <a:gd name="T0" fmla="*/ 56 w 64"/>
                <a:gd name="T1" fmla="*/ 4 h 40"/>
                <a:gd name="T2" fmla="*/ 58 w 64"/>
                <a:gd name="T3" fmla="*/ 4 h 40"/>
                <a:gd name="T4" fmla="*/ 60 w 64"/>
                <a:gd name="T5" fmla="*/ 2 h 40"/>
                <a:gd name="T6" fmla="*/ 60 w 64"/>
                <a:gd name="T7" fmla="*/ 0 h 40"/>
                <a:gd name="T8" fmla="*/ 4 w 64"/>
                <a:gd name="T9" fmla="*/ 0 h 40"/>
                <a:gd name="T10" fmla="*/ 4 w 64"/>
                <a:gd name="T11" fmla="*/ 2 h 40"/>
                <a:gd name="T12" fmla="*/ 6 w 64"/>
                <a:gd name="T13" fmla="*/ 4 h 40"/>
                <a:gd name="T14" fmla="*/ 8 w 64"/>
                <a:gd name="T15" fmla="*/ 4 h 40"/>
                <a:gd name="T16" fmla="*/ 8 w 64"/>
                <a:gd name="T17" fmla="*/ 32 h 40"/>
                <a:gd name="T18" fmla="*/ 0 w 64"/>
                <a:gd name="T19" fmla="*/ 40 h 40"/>
                <a:gd name="T20" fmla="*/ 64 w 64"/>
                <a:gd name="T21" fmla="*/ 40 h 40"/>
                <a:gd name="T22" fmla="*/ 56 w 64"/>
                <a:gd name="T23" fmla="*/ 32 h 40"/>
                <a:gd name="T24" fmla="*/ 56 w 64"/>
                <a:gd name="T25" fmla="*/ 4 h 40"/>
                <a:gd name="T26" fmla="*/ 12 w 64"/>
                <a:gd name="T27" fmla="*/ 32 h 40"/>
                <a:gd name="T28" fmla="*/ 12 w 64"/>
                <a:gd name="T29" fmla="*/ 4 h 40"/>
                <a:gd name="T30" fmla="*/ 20 w 64"/>
                <a:gd name="T31" fmla="*/ 4 h 40"/>
                <a:gd name="T32" fmla="*/ 20 w 64"/>
                <a:gd name="T33" fmla="*/ 32 h 40"/>
                <a:gd name="T34" fmla="*/ 12 w 64"/>
                <a:gd name="T35" fmla="*/ 32 h 40"/>
                <a:gd name="T36" fmla="*/ 28 w 64"/>
                <a:gd name="T37" fmla="*/ 32 h 40"/>
                <a:gd name="T38" fmla="*/ 28 w 64"/>
                <a:gd name="T39" fmla="*/ 4 h 40"/>
                <a:gd name="T40" fmla="*/ 36 w 64"/>
                <a:gd name="T41" fmla="*/ 4 h 40"/>
                <a:gd name="T42" fmla="*/ 36 w 64"/>
                <a:gd name="T43" fmla="*/ 32 h 40"/>
                <a:gd name="T44" fmla="*/ 28 w 64"/>
                <a:gd name="T45" fmla="*/ 32 h 40"/>
                <a:gd name="T46" fmla="*/ 44 w 64"/>
                <a:gd name="T47" fmla="*/ 32 h 40"/>
                <a:gd name="T48" fmla="*/ 44 w 64"/>
                <a:gd name="T49" fmla="*/ 4 h 40"/>
                <a:gd name="T50" fmla="*/ 52 w 64"/>
                <a:gd name="T51" fmla="*/ 4 h 40"/>
                <a:gd name="T52" fmla="*/ 52 w 64"/>
                <a:gd name="T53" fmla="*/ 32 h 40"/>
                <a:gd name="T54" fmla="*/ 44 w 64"/>
                <a:gd name="T5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" h="40">
                  <a:moveTo>
                    <a:pt x="56" y="4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60" y="4"/>
                    <a:pt x="60" y="3"/>
                    <a:pt x="60" y="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5" y="4"/>
                    <a:pt x="6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56" y="4"/>
                  </a:lnTo>
                  <a:close/>
                  <a:moveTo>
                    <a:pt x="12" y="32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2"/>
                    <a:pt x="20" y="32"/>
                    <a:pt x="20" y="32"/>
                  </a:cubicBezTo>
                  <a:lnTo>
                    <a:pt x="12" y="32"/>
                  </a:lnTo>
                  <a:close/>
                  <a:moveTo>
                    <a:pt x="28" y="32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2"/>
                    <a:pt x="36" y="32"/>
                    <a:pt x="36" y="32"/>
                  </a:cubicBezTo>
                  <a:lnTo>
                    <a:pt x="28" y="32"/>
                  </a:lnTo>
                  <a:close/>
                  <a:moveTo>
                    <a:pt x="44" y="32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32"/>
                    <a:pt x="52" y="32"/>
                    <a:pt x="52" y="32"/>
                  </a:cubicBezTo>
                  <a:lnTo>
                    <a:pt x="4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331C8FD1-B375-47B7-9935-57A38B974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" y="0"/>
              <a:ext cx="77" cy="24"/>
            </a:xfrm>
            <a:custGeom>
              <a:avLst/>
              <a:gdLst>
                <a:gd name="T0" fmla="*/ 77 w 77"/>
                <a:gd name="T1" fmla="*/ 24 h 24"/>
                <a:gd name="T2" fmla="*/ 38 w 77"/>
                <a:gd name="T3" fmla="*/ 0 h 24"/>
                <a:gd name="T4" fmla="*/ 0 w 77"/>
                <a:gd name="T5" fmla="*/ 24 h 24"/>
                <a:gd name="T6" fmla="*/ 77 w 77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24">
                  <a:moveTo>
                    <a:pt x="77" y="24"/>
                  </a:moveTo>
                  <a:lnTo>
                    <a:pt x="38" y="0"/>
                  </a:lnTo>
                  <a:lnTo>
                    <a:pt x="0" y="24"/>
                  </a:lnTo>
                  <a:lnTo>
                    <a:pt x="7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F809FE76-16E7-4FCD-B055-07DDD19A9F64}"/>
              </a:ext>
            </a:extLst>
          </p:cNvPr>
          <p:cNvCxnSpPr/>
          <p:nvPr/>
        </p:nvCxnSpPr>
        <p:spPr bwMode="auto">
          <a:xfrm>
            <a:off x="7387487" y="4707510"/>
            <a:ext cx="0" cy="15268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7440992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plate 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12"/>
          <p:cNvSpPr txBox="1"/>
          <p:nvPr/>
        </p:nvSpPr>
        <p:spPr>
          <a:xfrm>
            <a:off x="695277" y="3022168"/>
            <a:ext cx="865083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Expertises</a:t>
            </a:r>
            <a:endParaRPr kumimoji="0" lang="fr-FR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9" name="ZoneTexte 12"/>
          <p:cNvSpPr txBox="1"/>
          <p:nvPr/>
        </p:nvSpPr>
        <p:spPr>
          <a:xfrm>
            <a:off x="695277" y="4260283"/>
            <a:ext cx="1861126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Compétences sectorielles</a:t>
            </a:r>
            <a:endParaRPr kumimoji="0" lang="fr-FR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0" name="ZoneTexte 12"/>
          <p:cNvSpPr txBox="1"/>
          <p:nvPr/>
        </p:nvSpPr>
        <p:spPr>
          <a:xfrm>
            <a:off x="695277" y="5316504"/>
            <a:ext cx="773279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Parcours</a:t>
            </a:r>
            <a:endParaRPr kumimoji="0" lang="fr-FR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1" name="ZoneTexte 12"/>
          <p:cNvSpPr txBox="1"/>
          <p:nvPr/>
        </p:nvSpPr>
        <p:spPr>
          <a:xfrm>
            <a:off x="695277" y="2259698"/>
            <a:ext cx="864000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Formation</a:t>
            </a:r>
            <a:endParaRPr kumimoji="0" lang="fr-FR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2" name="ZoneTexte 12"/>
          <p:cNvSpPr txBox="1"/>
          <p:nvPr/>
        </p:nvSpPr>
        <p:spPr>
          <a:xfrm>
            <a:off x="4239991" y="2259698"/>
            <a:ext cx="1714427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Principales références</a:t>
            </a:r>
            <a:endParaRPr kumimoji="0" lang="fr-FR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cxnSp>
        <p:nvCxnSpPr>
          <p:cNvPr id="13" name="Connecteur droit 12"/>
          <p:cNvCxnSpPr>
            <a:cxnSpLocks/>
          </p:cNvCxnSpPr>
          <p:nvPr/>
        </p:nvCxnSpPr>
        <p:spPr>
          <a:xfrm>
            <a:off x="4508740" y="770626"/>
            <a:ext cx="46344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5964677" y="2349698"/>
            <a:ext cx="3178486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>
            <a:cxnSpLocks/>
          </p:cNvCxnSpPr>
          <p:nvPr/>
        </p:nvCxnSpPr>
        <p:spPr>
          <a:xfrm>
            <a:off x="1575702" y="2349698"/>
            <a:ext cx="2297799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>
            <a:cxnSpLocks/>
          </p:cNvCxnSpPr>
          <p:nvPr/>
        </p:nvCxnSpPr>
        <p:spPr>
          <a:xfrm>
            <a:off x="1575702" y="3112168"/>
            <a:ext cx="2297798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cxnSpLocks/>
          </p:cNvCxnSpPr>
          <p:nvPr/>
        </p:nvCxnSpPr>
        <p:spPr>
          <a:xfrm>
            <a:off x="2632051" y="4350283"/>
            <a:ext cx="1241449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>
            <a:cxnSpLocks/>
          </p:cNvCxnSpPr>
          <p:nvPr/>
        </p:nvCxnSpPr>
        <p:spPr>
          <a:xfrm>
            <a:off x="1429644" y="5406504"/>
            <a:ext cx="2443856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pour une image  22"/>
          <p:cNvSpPr>
            <a:spLocks noGrp="1"/>
          </p:cNvSpPr>
          <p:nvPr>
            <p:ph type="pic" sz="quarter" idx="10"/>
          </p:nvPr>
        </p:nvSpPr>
        <p:spPr>
          <a:xfrm>
            <a:off x="695277" y="585014"/>
            <a:ext cx="1414800" cy="1413684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1" hasCustomPrompt="1"/>
          </p:nvPr>
        </p:nvSpPr>
        <p:spPr>
          <a:xfrm>
            <a:off x="2447925" y="585016"/>
            <a:ext cx="1963208" cy="23211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0" lang="fr-FR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j-ea"/>
                <a:cs typeface="Trebuchet M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Prénom</a:t>
            </a:r>
          </a:p>
        </p:txBody>
      </p:sp>
      <p:sp>
        <p:nvSpPr>
          <p:cNvPr id="27" name="Espace réservé du texte 24"/>
          <p:cNvSpPr>
            <a:spLocks noGrp="1"/>
          </p:cNvSpPr>
          <p:nvPr>
            <p:ph type="body" sz="quarter" idx="12" hasCustomPrompt="1"/>
          </p:nvPr>
        </p:nvSpPr>
        <p:spPr>
          <a:xfrm>
            <a:off x="2447926" y="827952"/>
            <a:ext cx="6695237" cy="223279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200" b="1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noProof="0"/>
              <a:t>Position</a:t>
            </a:r>
          </a:p>
        </p:txBody>
      </p:sp>
      <p:sp>
        <p:nvSpPr>
          <p:cNvPr id="28" name="Espace réservé du texte 24"/>
          <p:cNvSpPr>
            <a:spLocks noGrp="1"/>
          </p:cNvSpPr>
          <p:nvPr>
            <p:ph type="body" sz="quarter" idx="13" hasCustomPrompt="1"/>
          </p:nvPr>
        </p:nvSpPr>
        <p:spPr>
          <a:xfrm>
            <a:off x="2447925" y="1172877"/>
            <a:ext cx="6695238" cy="825821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noProof="0"/>
              <a:t>Description rapide du parcours </a:t>
            </a: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4"/>
          </p:nvPr>
        </p:nvSpPr>
        <p:spPr>
          <a:xfrm>
            <a:off x="614363" y="2397124"/>
            <a:ext cx="3259137" cy="563205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6" name="Espace réservé du texte 31">
            <a:extLst>
              <a:ext uri="{FF2B5EF4-FFF2-40B4-BE49-F238E27FC236}">
                <a16:creationId xmlns:a16="http://schemas.microsoft.com/office/drawing/2014/main" id="{39AB12F0-E75E-4B66-B105-CBFE112150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4363" y="3168713"/>
            <a:ext cx="3259138" cy="102827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30" name="Espace réservé du texte 31">
            <a:extLst>
              <a:ext uri="{FF2B5EF4-FFF2-40B4-BE49-F238E27FC236}">
                <a16:creationId xmlns:a16="http://schemas.microsoft.com/office/drawing/2014/main" id="{33F08225-28E1-4550-A21A-37E7461810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4363" y="4419943"/>
            <a:ext cx="3259138" cy="83326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33" name="Espace réservé du texte 31">
            <a:extLst>
              <a:ext uri="{FF2B5EF4-FFF2-40B4-BE49-F238E27FC236}">
                <a16:creationId xmlns:a16="http://schemas.microsoft.com/office/drawing/2014/main" id="{FEC446AB-7C31-415B-8C1A-177A5182EF0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4363" y="5476163"/>
            <a:ext cx="3259138" cy="721413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7A6AF1FA-987D-436B-A715-21322E8792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0963" y="2397125"/>
            <a:ext cx="4902200" cy="3802063"/>
          </a:xfrm>
        </p:spPr>
        <p:txBody>
          <a:bodyPr/>
          <a:lstStyle>
            <a:lvl1pPr marL="182563" indent="-182563">
              <a:spcBef>
                <a:spcPts val="0"/>
              </a:spcBef>
              <a:defRPr sz="1000">
                <a:latin typeface="+mn-lt"/>
              </a:defRPr>
            </a:lvl1pPr>
            <a:lvl2pPr marL="449263" indent="-177800">
              <a:spcBef>
                <a:spcPts val="0"/>
              </a:spcBef>
              <a:defRPr sz="900">
                <a:latin typeface="+mn-lt"/>
              </a:defRPr>
            </a:lvl2pPr>
            <a:lvl3pPr marL="719138" indent="-177800">
              <a:spcBef>
                <a:spcPts val="0"/>
              </a:spcBef>
              <a:defRPr sz="9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779011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plate CV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12"/>
          <p:cNvSpPr txBox="1"/>
          <p:nvPr/>
        </p:nvSpPr>
        <p:spPr>
          <a:xfrm>
            <a:off x="695277" y="3022168"/>
            <a:ext cx="865083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Expertis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9" name="ZoneTexte 12"/>
          <p:cNvSpPr txBox="1"/>
          <p:nvPr/>
        </p:nvSpPr>
        <p:spPr>
          <a:xfrm>
            <a:off x="695277" y="4260283"/>
            <a:ext cx="1861126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Practice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0" name="ZoneTexte 12"/>
          <p:cNvSpPr txBox="1"/>
          <p:nvPr/>
        </p:nvSpPr>
        <p:spPr>
          <a:xfrm>
            <a:off x="695277" y="5315049"/>
            <a:ext cx="1414800" cy="18145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Main experience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1" name="ZoneTexte 12"/>
          <p:cNvSpPr txBox="1"/>
          <p:nvPr/>
        </p:nvSpPr>
        <p:spPr>
          <a:xfrm>
            <a:off x="695277" y="2259698"/>
            <a:ext cx="864000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Education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sp>
        <p:nvSpPr>
          <p:cNvPr id="12" name="ZoneTexte 12"/>
          <p:cNvSpPr txBox="1"/>
          <p:nvPr/>
        </p:nvSpPr>
        <p:spPr>
          <a:xfrm>
            <a:off x="4239991" y="2259698"/>
            <a:ext cx="1714427" cy="18000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rPr>
              <a:t>Main references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/>
              <a:ea typeface="+mn-ea"/>
              <a:cs typeface="Arial" pitchFamily="34" charset="0"/>
            </a:endParaRPr>
          </a:p>
        </p:txBody>
      </p:sp>
      <p:cxnSp>
        <p:nvCxnSpPr>
          <p:cNvPr id="13" name="Connecteur droit 12"/>
          <p:cNvCxnSpPr>
            <a:cxnSpLocks/>
          </p:cNvCxnSpPr>
          <p:nvPr/>
        </p:nvCxnSpPr>
        <p:spPr>
          <a:xfrm>
            <a:off x="4508740" y="770626"/>
            <a:ext cx="46344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>
            <a:cxnSpLocks/>
          </p:cNvCxnSpPr>
          <p:nvPr/>
        </p:nvCxnSpPr>
        <p:spPr>
          <a:xfrm>
            <a:off x="5495026" y="2349698"/>
            <a:ext cx="3648137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>
            <a:cxnSpLocks/>
          </p:cNvCxnSpPr>
          <p:nvPr/>
        </p:nvCxnSpPr>
        <p:spPr>
          <a:xfrm>
            <a:off x="1575702" y="2349698"/>
            <a:ext cx="23327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>
            <a:cxnSpLocks/>
          </p:cNvCxnSpPr>
          <p:nvPr/>
        </p:nvCxnSpPr>
        <p:spPr>
          <a:xfrm>
            <a:off x="1575702" y="3112168"/>
            <a:ext cx="2332723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cxnSpLocks/>
          </p:cNvCxnSpPr>
          <p:nvPr/>
        </p:nvCxnSpPr>
        <p:spPr>
          <a:xfrm>
            <a:off x="1429644" y="4350283"/>
            <a:ext cx="2478781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/>
          <p:cNvCxnSpPr>
            <a:cxnSpLocks/>
          </p:cNvCxnSpPr>
          <p:nvPr/>
        </p:nvCxnSpPr>
        <p:spPr>
          <a:xfrm>
            <a:off x="1984075" y="5406504"/>
            <a:ext cx="1924350" cy="0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pour une image  22"/>
          <p:cNvSpPr>
            <a:spLocks noGrp="1"/>
          </p:cNvSpPr>
          <p:nvPr>
            <p:ph type="pic" sz="quarter" idx="10"/>
          </p:nvPr>
        </p:nvSpPr>
        <p:spPr>
          <a:xfrm>
            <a:off x="695277" y="585014"/>
            <a:ext cx="1414800" cy="1413684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1" hasCustomPrompt="1"/>
          </p:nvPr>
        </p:nvSpPr>
        <p:spPr>
          <a:xfrm>
            <a:off x="2447925" y="585016"/>
            <a:ext cx="1856656" cy="23211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kumimoji="0" lang="fr-FR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j-ea"/>
                <a:cs typeface="Trebuchet M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First name</a:t>
            </a:r>
          </a:p>
        </p:txBody>
      </p:sp>
      <p:sp>
        <p:nvSpPr>
          <p:cNvPr id="27" name="Espace réservé du texte 24"/>
          <p:cNvSpPr>
            <a:spLocks noGrp="1"/>
          </p:cNvSpPr>
          <p:nvPr>
            <p:ph type="body" sz="quarter" idx="12" hasCustomPrompt="1"/>
          </p:nvPr>
        </p:nvSpPr>
        <p:spPr>
          <a:xfrm>
            <a:off x="2447925" y="827952"/>
            <a:ext cx="6695237" cy="223279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200" b="1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Position</a:t>
            </a:r>
          </a:p>
        </p:txBody>
      </p:sp>
      <p:sp>
        <p:nvSpPr>
          <p:cNvPr id="28" name="Espace réservé du texte 24"/>
          <p:cNvSpPr>
            <a:spLocks noGrp="1"/>
          </p:cNvSpPr>
          <p:nvPr>
            <p:ph type="body" sz="quarter" idx="13" hasCustomPrompt="1"/>
          </p:nvPr>
        </p:nvSpPr>
        <p:spPr>
          <a:xfrm>
            <a:off x="2447925" y="1172877"/>
            <a:ext cx="6695238" cy="825821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lvl2pPr marL="0" indent="0">
              <a:buNone/>
              <a:defRPr lang="fr-FR" sz="1200" kern="1200" dirty="0" smtClean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</a:defRPr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of your background</a:t>
            </a: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4"/>
          </p:nvPr>
        </p:nvSpPr>
        <p:spPr>
          <a:xfrm>
            <a:off x="614362" y="2397124"/>
            <a:ext cx="3294063" cy="563205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2" name="Espace réservé du texte 31">
            <a:extLst>
              <a:ext uri="{FF2B5EF4-FFF2-40B4-BE49-F238E27FC236}">
                <a16:creationId xmlns:a16="http://schemas.microsoft.com/office/drawing/2014/main" id="{342CD983-0F8D-40FF-82D1-B11C2C9419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4362" y="3168713"/>
            <a:ext cx="3294063" cy="102827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4" name="Espace réservé du texte 31">
            <a:extLst>
              <a:ext uri="{FF2B5EF4-FFF2-40B4-BE49-F238E27FC236}">
                <a16:creationId xmlns:a16="http://schemas.microsoft.com/office/drawing/2014/main" id="{A295C34A-668C-4A46-BD08-0C6FAA382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4362" y="4419943"/>
            <a:ext cx="3294063" cy="833269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29" name="Espace réservé du texte 31">
            <a:extLst>
              <a:ext uri="{FF2B5EF4-FFF2-40B4-BE49-F238E27FC236}">
                <a16:creationId xmlns:a16="http://schemas.microsoft.com/office/drawing/2014/main" id="{C2DB6C3B-8215-4E18-9248-5A22005038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4362" y="5476163"/>
            <a:ext cx="3294063" cy="721413"/>
          </a:xfrm>
        </p:spPr>
        <p:txBody>
          <a:bodyPr>
            <a:noAutofit/>
          </a:bodyPr>
          <a:lstStyle>
            <a:lvl1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1pPr>
            <a:lvl2pPr marL="261938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 kumimoji="0" lang="fr-FR" sz="1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/>
                <a:ea typeface="+mn-ea"/>
                <a:cs typeface="Arial" pitchFamily="34" charset="0"/>
              </a:defRPr>
            </a:lvl2pPr>
            <a:lvl3pPr marL="376238" indent="-285750">
              <a:defRPr/>
            </a:lvl3pPr>
            <a:lvl4pPr marL="376238" indent="-285750">
              <a:defRPr/>
            </a:lvl4pPr>
            <a:lvl5pPr marL="376238" indent="-285750">
              <a:defRPr/>
            </a:lvl5pPr>
          </a:lstStyle>
          <a:p>
            <a:pPr marL="261938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Click to edit Master text styles</a:t>
            </a:r>
          </a:p>
          <a:p>
            <a:pPr marL="261938" marR="0" lvl="1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F7F7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/>
              <a:t>Second level</a:t>
            </a:r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A4FB1480-BDA6-4E98-8947-9CE1D8CF26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0963" y="2397125"/>
            <a:ext cx="4902200" cy="3802063"/>
          </a:xfrm>
        </p:spPr>
        <p:txBody>
          <a:bodyPr/>
          <a:lstStyle>
            <a:lvl1pPr marL="182563" indent="-182563">
              <a:spcBef>
                <a:spcPts val="0"/>
              </a:spcBef>
              <a:defRPr sz="1000">
                <a:latin typeface="+mn-lt"/>
              </a:defRPr>
            </a:lvl1pPr>
            <a:lvl2pPr marL="449263" indent="-177800">
              <a:spcBef>
                <a:spcPts val="0"/>
              </a:spcBef>
              <a:defRPr sz="900">
                <a:latin typeface="+mn-lt"/>
              </a:defRPr>
            </a:lvl2pPr>
            <a:lvl3pPr marL="719138" indent="-177800">
              <a:spcBef>
                <a:spcPts val="0"/>
              </a:spcBef>
              <a:defRPr sz="9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3747264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6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siness cas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id="{E763F58E-54A5-4D52-95D3-D92F1F058AA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366838" y="1333721"/>
            <a:ext cx="8231187" cy="690563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1400">
                <a:solidFill>
                  <a:schemeClr val="tx2"/>
                </a:solidFill>
                <a:latin typeface="+mj-lt"/>
              </a:rPr>
              <a:t>Click to edit Master text styles</a:t>
            </a:r>
          </a:p>
        </p:txBody>
      </p:sp>
      <p:sp>
        <p:nvSpPr>
          <p:cNvPr id="3" name="Titre 1"/>
          <p:cNvSpPr txBox="1">
            <a:spLocks/>
          </p:cNvSpPr>
          <p:nvPr/>
        </p:nvSpPr>
        <p:spPr bwMode="auto">
          <a:xfrm>
            <a:off x="350860" y="130211"/>
            <a:ext cx="8873301" cy="286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89B38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Trebuchet MS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373029" y="2111021"/>
            <a:ext cx="3751296" cy="4471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>
                <a:solidFill>
                  <a:schemeClr val="tx1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232275" y="2111021"/>
            <a:ext cx="3534882" cy="4471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>
                <a:solidFill>
                  <a:schemeClr val="tx1"/>
                </a:solidFill>
                <a:latin typeface="Trebuchet MS" panose="020B0603020202020204" pitchFamily="34" charset="0"/>
              </a:rPr>
              <a:t>Apports et Méthodologie eleven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44381" y="2704131"/>
            <a:ext cx="3600000" cy="358818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>
              <a:buFont typeface="Arial" pitchFamily="34" charset="0"/>
              <a:buChar char="•"/>
            </a:pPr>
            <a:endParaRPr lang="fr-FR" sz="800">
              <a:solidFill>
                <a:srgbClr val="FFFFFF">
                  <a:lumMod val="65000"/>
                </a:srgb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8" name="Connecteur droit 7"/>
          <p:cNvCxnSpPr>
            <a:cxnSpLocks/>
          </p:cNvCxnSpPr>
          <p:nvPr/>
        </p:nvCxnSpPr>
        <p:spPr>
          <a:xfrm>
            <a:off x="344381" y="2556212"/>
            <a:ext cx="3779944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9" name="Connecteur droit 8"/>
          <p:cNvCxnSpPr>
            <a:cxnSpLocks/>
          </p:cNvCxnSpPr>
          <p:nvPr/>
        </p:nvCxnSpPr>
        <p:spPr>
          <a:xfrm>
            <a:off x="344381" y="2111021"/>
            <a:ext cx="3779944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0" name="Connecteur droit 9"/>
          <p:cNvCxnSpPr>
            <a:cxnSpLocks/>
          </p:cNvCxnSpPr>
          <p:nvPr/>
        </p:nvCxnSpPr>
        <p:spPr>
          <a:xfrm>
            <a:off x="4232275" y="2556212"/>
            <a:ext cx="5365750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1" name="Connecteur droit 10"/>
          <p:cNvCxnSpPr>
            <a:cxnSpLocks/>
          </p:cNvCxnSpPr>
          <p:nvPr/>
        </p:nvCxnSpPr>
        <p:spPr>
          <a:xfrm>
            <a:off x="4232275" y="2111021"/>
            <a:ext cx="5365750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8" name="Connecteur droit 17"/>
          <p:cNvCxnSpPr>
            <a:cxnSpLocks/>
          </p:cNvCxnSpPr>
          <p:nvPr/>
        </p:nvCxnSpPr>
        <p:spPr>
          <a:xfrm>
            <a:off x="344381" y="1264044"/>
            <a:ext cx="9253644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29" name="Espace réservé pour une image  28"/>
          <p:cNvSpPr>
            <a:spLocks noGrp="1"/>
          </p:cNvSpPr>
          <p:nvPr>
            <p:ph type="pic" sz="quarter" idx="10"/>
          </p:nvPr>
        </p:nvSpPr>
        <p:spPr>
          <a:xfrm>
            <a:off x="8213739" y="2768935"/>
            <a:ext cx="1384286" cy="1371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Espace réservé pour une image  28"/>
          <p:cNvSpPr>
            <a:spLocks noGrp="1"/>
          </p:cNvSpPr>
          <p:nvPr>
            <p:ph type="pic" sz="quarter" idx="11"/>
          </p:nvPr>
        </p:nvSpPr>
        <p:spPr>
          <a:xfrm>
            <a:off x="8213739" y="4243614"/>
            <a:ext cx="1384286" cy="1371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2"/>
          </p:nvPr>
        </p:nvSpPr>
        <p:spPr>
          <a:xfrm>
            <a:off x="4232275" y="2635615"/>
            <a:ext cx="3874558" cy="3748251"/>
          </a:xfrm>
        </p:spPr>
        <p:txBody>
          <a:bodyPr/>
          <a:lstStyle>
            <a:lvl1pPr marL="0" indent="0">
              <a:buNone/>
              <a:defRPr lang="fr-FR" sz="105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  <a:lvl2pPr marL="533400" indent="0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2pPr>
            <a:lvl3pPr marL="847725" indent="0" defTabSz="982663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3pPr>
            <a:lvl4pPr marL="1431925" indent="-63500">
              <a:defRPr lang="fr-FR" sz="1000" kern="1200" dirty="0" smtClean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2062163" indent="-80963">
              <a:defRPr lang="en-US" sz="1000" kern="1200" dirty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Espace réservé du texte 33"/>
          <p:cNvSpPr>
            <a:spLocks noGrp="1"/>
          </p:cNvSpPr>
          <p:nvPr>
            <p:ph type="body" sz="quarter" idx="13" hasCustomPrompt="1"/>
          </p:nvPr>
        </p:nvSpPr>
        <p:spPr>
          <a:xfrm>
            <a:off x="344488" y="103188"/>
            <a:ext cx="9253537" cy="31000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533400" indent="0">
              <a:buNone/>
              <a:defRPr/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lvl="0"/>
            <a:r>
              <a:rPr lang="fr-FR"/>
              <a:t>Business Case</a:t>
            </a:r>
          </a:p>
        </p:txBody>
      </p:sp>
      <p:sp>
        <p:nvSpPr>
          <p:cNvPr id="37" name="Espace réservé du texte 33"/>
          <p:cNvSpPr>
            <a:spLocks noGrp="1"/>
          </p:cNvSpPr>
          <p:nvPr>
            <p:ph type="body" sz="quarter" idx="14" hasCustomPrompt="1"/>
          </p:nvPr>
        </p:nvSpPr>
        <p:spPr>
          <a:xfrm>
            <a:off x="344381" y="440219"/>
            <a:ext cx="9253644" cy="675906"/>
          </a:xfrm>
        </p:spPr>
        <p:txBody>
          <a:bodyPr>
            <a:normAutofit/>
          </a:bodyPr>
          <a:lstStyle>
            <a:lvl1pPr marL="0" indent="0">
              <a:buNone/>
              <a:defRPr lang="fr-FR" sz="1400" b="0" kern="0" dirty="0" smtClean="0">
                <a:solidFill>
                  <a:schemeClr val="tx1"/>
                </a:solidFill>
                <a:latin typeface="+mj-lt"/>
                <a:ea typeface="+mj-ea"/>
                <a:cs typeface="Trebuchet MS"/>
              </a:defRPr>
            </a:lvl1pPr>
            <a:lvl2pPr marL="533400" indent="0">
              <a:buNone/>
              <a:defRPr/>
            </a:lvl2pPr>
            <a:lvl3pPr marL="847725" indent="0">
              <a:buNone/>
              <a:defRPr/>
            </a:lvl3pPr>
            <a:lvl4pPr marL="1368425" indent="0">
              <a:buNone/>
              <a:defRPr/>
            </a:lvl4pPr>
            <a:lvl5pPr marL="1981200" indent="0">
              <a:buNone/>
              <a:defRPr/>
            </a:lvl5pPr>
          </a:lstStyle>
          <a:p>
            <a:pPr lvl="0"/>
            <a:r>
              <a:rPr lang="fr-FR"/>
              <a:t>Explication résumée de la mission</a:t>
            </a:r>
          </a:p>
        </p:txBody>
      </p:sp>
      <p:sp>
        <p:nvSpPr>
          <p:cNvPr id="38" name="Espace réservé du texte 31"/>
          <p:cNvSpPr>
            <a:spLocks noGrp="1"/>
          </p:cNvSpPr>
          <p:nvPr>
            <p:ph type="body" sz="quarter" idx="15"/>
          </p:nvPr>
        </p:nvSpPr>
        <p:spPr>
          <a:xfrm>
            <a:off x="344381" y="2635615"/>
            <a:ext cx="3779944" cy="3748252"/>
          </a:xfrm>
        </p:spPr>
        <p:txBody>
          <a:bodyPr/>
          <a:lstStyle>
            <a:lvl1pPr marL="0" indent="0">
              <a:buNone/>
              <a:defRPr lang="fr-FR" sz="105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  <a:lvl2pPr marL="533400" indent="0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2pPr>
            <a:lvl3pPr marL="847725" indent="0" defTabSz="982663">
              <a:buNone/>
              <a:defRPr lang="fr-FR" sz="1000" kern="120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3pPr>
            <a:lvl4pPr marL="1431925" indent="-63500">
              <a:defRPr lang="fr-FR" sz="1000" kern="1200" dirty="0" smtClean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2062163" indent="-80963">
              <a:defRPr lang="en-US" sz="1000" kern="1200" dirty="0">
                <a:solidFill>
                  <a:srgbClr val="FFFFFF">
                    <a:lumMod val="65000"/>
                  </a:srgbClr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pour une image  28">
            <a:extLst>
              <a:ext uri="{FF2B5EF4-FFF2-40B4-BE49-F238E27FC236}">
                <a16:creationId xmlns:a16="http://schemas.microsoft.com/office/drawing/2014/main" id="{92CFB27C-379C-45BB-8380-E8B99691AFE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4488" y="1333755"/>
            <a:ext cx="906796" cy="690494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Pic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607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04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C657F8-C966-4D7B-9569-848A0CD88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08301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416" imgH="423" progId="TCLayout.ActiveDocument.1">
                  <p:embed/>
                </p:oleObj>
              </mc:Choice>
              <mc:Fallback>
                <p:oleObj name="think-cell Slide" r:id="rId16" imgW="416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C657F8-C966-4D7B-9569-848A0CD88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2" y="6536995"/>
            <a:ext cx="9905999" cy="321013"/>
          </a:xfrm>
          <a:prstGeom prst="rect">
            <a:avLst/>
          </a:prstGeom>
          <a:solidFill>
            <a:srgbClr val="D8FA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65600" y="146048"/>
            <a:ext cx="954000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/>
              <a:t>Cliquez pour modifier le style du titre</a:t>
            </a:r>
            <a:endParaRPr lang="en-US" altLang="en-GB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9290315" y="6616042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#›</a:t>
            </a:fld>
            <a:endParaRPr lang="en-GB" sz="105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165600" y="942560"/>
            <a:ext cx="9540000" cy="54356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grpSp>
        <p:nvGrpSpPr>
          <p:cNvPr id="107" name="Graphique 7">
            <a:extLst>
              <a:ext uri="{FF2B5EF4-FFF2-40B4-BE49-F238E27FC236}">
                <a16:creationId xmlns:a16="http://schemas.microsoft.com/office/drawing/2014/main" id="{DA489534-4203-4CA4-BD15-D78B14AEDF8D}"/>
              </a:ext>
            </a:extLst>
          </p:cNvPr>
          <p:cNvGrpSpPr/>
          <p:nvPr/>
        </p:nvGrpSpPr>
        <p:grpSpPr>
          <a:xfrm>
            <a:off x="8572252" y="6584579"/>
            <a:ext cx="565002" cy="216312"/>
            <a:chOff x="2428087" y="1950365"/>
            <a:chExt cx="4042782" cy="1547784"/>
          </a:xfrm>
        </p:grpSpPr>
        <p:sp>
          <p:nvSpPr>
            <p:cNvPr id="108" name="Forme libre : forme 107">
              <a:extLst>
                <a:ext uri="{FF2B5EF4-FFF2-40B4-BE49-F238E27FC236}">
                  <a16:creationId xmlns:a16="http://schemas.microsoft.com/office/drawing/2014/main" id="{6CBA3F0F-0479-4194-8F8C-51F4FCD24997}"/>
                </a:ext>
              </a:extLst>
            </p:cNvPr>
            <p:cNvSpPr/>
            <p:nvPr/>
          </p:nvSpPr>
          <p:spPr>
            <a:xfrm>
              <a:off x="2436869" y="2236734"/>
              <a:ext cx="685800" cy="771525"/>
            </a:xfrm>
            <a:custGeom>
              <a:avLst/>
              <a:gdLst>
                <a:gd name="connsiteX0" fmla="*/ 673275 w 685800"/>
                <a:gd name="connsiteY0" fmla="*/ 400641 h 771525"/>
                <a:gd name="connsiteX1" fmla="*/ 144180 w 685800"/>
                <a:gd name="connsiteY1" fmla="*/ 400641 h 771525"/>
                <a:gd name="connsiteX2" fmla="*/ 214836 w 685800"/>
                <a:gd name="connsiteY2" fmla="*/ 598637 h 771525"/>
                <a:gd name="connsiteX3" fmla="*/ 375333 w 685800"/>
                <a:gd name="connsiteY3" fmla="*/ 658911 h 771525"/>
                <a:gd name="connsiteX4" fmla="*/ 561927 w 685800"/>
                <a:gd name="connsiteY4" fmla="*/ 593931 h 771525"/>
                <a:gd name="connsiteX5" fmla="*/ 616791 w 685800"/>
                <a:gd name="connsiteY5" fmla="*/ 687896 h 771525"/>
                <a:gd name="connsiteX6" fmla="*/ 524218 w 685800"/>
                <a:gd name="connsiteY6" fmla="*/ 739950 h 771525"/>
                <a:gd name="connsiteX7" fmla="*/ 350006 w 685800"/>
                <a:gd name="connsiteY7" fmla="*/ 768725 h 771525"/>
                <a:gd name="connsiteX8" fmla="*/ 114814 w 685800"/>
                <a:gd name="connsiteY8" fmla="*/ 674780 h 771525"/>
                <a:gd name="connsiteX9" fmla="*/ 7144 w 685800"/>
                <a:gd name="connsiteY9" fmla="*/ 396469 h 771525"/>
                <a:gd name="connsiteX10" fmla="*/ 117510 w 685800"/>
                <a:gd name="connsiteY10" fmla="*/ 105118 h 771525"/>
                <a:gd name="connsiteX11" fmla="*/ 351177 w 685800"/>
                <a:gd name="connsiteY11" fmla="*/ 7144 h 771525"/>
                <a:gd name="connsiteX12" fmla="*/ 597179 w 685800"/>
                <a:gd name="connsiteY12" fmla="*/ 95574 h 771525"/>
                <a:gd name="connsiteX13" fmla="*/ 683533 w 685800"/>
                <a:gd name="connsiteY13" fmla="*/ 321107 h 771525"/>
                <a:gd name="connsiteX14" fmla="*/ 673275 w 685800"/>
                <a:gd name="connsiteY14" fmla="*/ 400641 h 771525"/>
                <a:gd name="connsiteX15" fmla="*/ 357597 w 685800"/>
                <a:gd name="connsiteY15" fmla="*/ 116938 h 771525"/>
                <a:gd name="connsiteX16" fmla="*/ 211512 w 685800"/>
                <a:gd name="connsiteY16" fmla="*/ 173050 h 771525"/>
                <a:gd name="connsiteX17" fmla="*/ 147704 w 685800"/>
                <a:gd name="connsiteY17" fmla="*/ 305810 h 771525"/>
                <a:gd name="connsiteX18" fmla="*/ 554422 w 685800"/>
                <a:gd name="connsiteY18" fmla="*/ 305810 h 771525"/>
                <a:gd name="connsiteX19" fmla="*/ 505054 w 685800"/>
                <a:gd name="connsiteY19" fmla="*/ 174450 h 771525"/>
                <a:gd name="connsiteX20" fmla="*/ 357597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75" y="400641"/>
                  </a:moveTo>
                  <a:lnTo>
                    <a:pt x="144180" y="400641"/>
                  </a:lnTo>
                  <a:cubicBezTo>
                    <a:pt x="144180" y="486518"/>
                    <a:pt x="167735" y="552488"/>
                    <a:pt x="214836" y="598637"/>
                  </a:cubicBezTo>
                  <a:cubicBezTo>
                    <a:pt x="256470" y="638842"/>
                    <a:pt x="309934" y="658911"/>
                    <a:pt x="375333" y="658911"/>
                  </a:cubicBezTo>
                  <a:cubicBezTo>
                    <a:pt x="449885" y="658911"/>
                    <a:pt x="512083" y="637223"/>
                    <a:pt x="561927" y="593931"/>
                  </a:cubicBezTo>
                  <a:lnTo>
                    <a:pt x="616791" y="687896"/>
                  </a:lnTo>
                  <a:cubicBezTo>
                    <a:pt x="596627" y="707993"/>
                    <a:pt x="565775" y="725367"/>
                    <a:pt x="524218" y="739950"/>
                  </a:cubicBezTo>
                  <a:cubicBezTo>
                    <a:pt x="472116" y="759114"/>
                    <a:pt x="414033" y="768725"/>
                    <a:pt x="350006" y="768725"/>
                  </a:cubicBezTo>
                  <a:cubicBezTo>
                    <a:pt x="257670" y="768725"/>
                    <a:pt x="179261" y="737416"/>
                    <a:pt x="114814" y="674780"/>
                  </a:cubicBezTo>
                  <a:cubicBezTo>
                    <a:pt x="43005" y="605828"/>
                    <a:pt x="7144" y="513055"/>
                    <a:pt x="7144" y="396469"/>
                  </a:cubicBezTo>
                  <a:cubicBezTo>
                    <a:pt x="7144" y="275368"/>
                    <a:pt x="43929" y="178241"/>
                    <a:pt x="117510" y="105118"/>
                  </a:cubicBezTo>
                  <a:cubicBezTo>
                    <a:pt x="183290" y="39786"/>
                    <a:pt x="261176" y="7144"/>
                    <a:pt x="351177" y="7144"/>
                  </a:cubicBezTo>
                  <a:cubicBezTo>
                    <a:pt x="455762" y="7144"/>
                    <a:pt x="537772" y="36614"/>
                    <a:pt x="597179" y="95574"/>
                  </a:cubicBezTo>
                  <a:cubicBezTo>
                    <a:pt x="654758" y="152238"/>
                    <a:pt x="683533" y="227457"/>
                    <a:pt x="683533" y="321107"/>
                  </a:cubicBezTo>
                  <a:cubicBezTo>
                    <a:pt x="683543" y="349910"/>
                    <a:pt x="680085" y="376438"/>
                    <a:pt x="673275" y="400641"/>
                  </a:cubicBezTo>
                  <a:close/>
                  <a:moveTo>
                    <a:pt x="357597" y="116938"/>
                  </a:moveTo>
                  <a:cubicBezTo>
                    <a:pt x="299514" y="116938"/>
                    <a:pt x="250822" y="135674"/>
                    <a:pt x="211512" y="173050"/>
                  </a:cubicBezTo>
                  <a:cubicBezTo>
                    <a:pt x="174003" y="208636"/>
                    <a:pt x="152695" y="252879"/>
                    <a:pt x="147704" y="305810"/>
                  </a:cubicBezTo>
                  <a:lnTo>
                    <a:pt x="554422" y="305810"/>
                  </a:lnTo>
                  <a:cubicBezTo>
                    <a:pt x="554422" y="253375"/>
                    <a:pt x="537953" y="209588"/>
                    <a:pt x="505054" y="174450"/>
                  </a:cubicBezTo>
                  <a:cubicBezTo>
                    <a:pt x="468935" y="136103"/>
                    <a:pt x="419738" y="116938"/>
                    <a:pt x="357597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" name="Forme libre : forme 108">
              <a:extLst>
                <a:ext uri="{FF2B5EF4-FFF2-40B4-BE49-F238E27FC236}">
                  <a16:creationId xmlns:a16="http://schemas.microsoft.com/office/drawing/2014/main" id="{4D249624-9FD0-4145-B22A-AC25D93E72A2}"/>
                </a:ext>
              </a:extLst>
            </p:cNvPr>
            <p:cNvSpPr/>
            <p:nvPr/>
          </p:nvSpPr>
          <p:spPr>
            <a:xfrm>
              <a:off x="3259963" y="1950365"/>
              <a:ext cx="266700" cy="1057275"/>
            </a:xfrm>
            <a:custGeom>
              <a:avLst/>
              <a:gdLst>
                <a:gd name="connsiteX0" fmla="*/ 7144 w 266700"/>
                <a:gd name="connsiteY0" fmla="*/ 833847 h 1057275"/>
                <a:gd name="connsiteX1" fmla="*/ 7144 w 266700"/>
                <a:gd name="connsiteY1" fmla="*/ 7144 h 1057275"/>
                <a:gd name="connsiteX2" fmla="*/ 137160 w 266700"/>
                <a:gd name="connsiteY2" fmla="*/ 7144 h 1057275"/>
                <a:gd name="connsiteX3" fmla="*/ 137160 w 266700"/>
                <a:gd name="connsiteY3" fmla="*/ 811578 h 1057275"/>
                <a:gd name="connsiteX4" fmla="*/ 171136 w 266700"/>
                <a:gd name="connsiteY4" fmla="*/ 904389 h 1057275"/>
                <a:gd name="connsiteX5" fmla="*/ 260137 w 266700"/>
                <a:gd name="connsiteY5" fmla="*/ 938251 h 1057275"/>
                <a:gd name="connsiteX6" fmla="*/ 260137 w 266700"/>
                <a:gd name="connsiteY6" fmla="*/ 1055103 h 1057275"/>
                <a:gd name="connsiteX7" fmla="*/ 7144 w 266700"/>
                <a:gd name="connsiteY7" fmla="*/ 833847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6700" h="1057275">
                  <a:moveTo>
                    <a:pt x="7144" y="833847"/>
                  </a:moveTo>
                  <a:lnTo>
                    <a:pt x="7144" y="7144"/>
                  </a:lnTo>
                  <a:lnTo>
                    <a:pt x="137160" y="7144"/>
                  </a:lnTo>
                  <a:lnTo>
                    <a:pt x="137160" y="811578"/>
                  </a:lnTo>
                  <a:cubicBezTo>
                    <a:pt x="137160" y="850868"/>
                    <a:pt x="148523" y="881767"/>
                    <a:pt x="171136" y="904389"/>
                  </a:cubicBezTo>
                  <a:cubicBezTo>
                    <a:pt x="193872" y="926954"/>
                    <a:pt x="223514" y="938251"/>
                    <a:pt x="260137" y="938251"/>
                  </a:cubicBezTo>
                  <a:lnTo>
                    <a:pt x="260137" y="1055103"/>
                  </a:lnTo>
                  <a:cubicBezTo>
                    <a:pt x="91469" y="1055103"/>
                    <a:pt x="7144" y="981370"/>
                    <a:pt x="7144" y="833847"/>
                  </a:cubicBezTo>
                  <a:close/>
                </a:path>
              </a:pathLst>
            </a:custGeom>
            <a:solidFill>
              <a:srgbClr val="00A3E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" name="Forme libre : forme 109">
              <a:extLst>
                <a:ext uri="{FF2B5EF4-FFF2-40B4-BE49-F238E27FC236}">
                  <a16:creationId xmlns:a16="http://schemas.microsoft.com/office/drawing/2014/main" id="{CE31266C-F592-4296-949B-8A9A91B0F6F7}"/>
                </a:ext>
              </a:extLst>
            </p:cNvPr>
            <p:cNvSpPr/>
            <p:nvPr/>
          </p:nvSpPr>
          <p:spPr>
            <a:xfrm>
              <a:off x="3615674" y="2236734"/>
              <a:ext cx="685800" cy="771525"/>
            </a:xfrm>
            <a:custGeom>
              <a:avLst/>
              <a:gdLst>
                <a:gd name="connsiteX0" fmla="*/ 673246 w 685800"/>
                <a:gd name="connsiteY0" fmla="*/ 400641 h 771525"/>
                <a:gd name="connsiteX1" fmla="*/ 144161 w 685800"/>
                <a:gd name="connsiteY1" fmla="*/ 400641 h 771525"/>
                <a:gd name="connsiteX2" fmla="*/ 214827 w 685800"/>
                <a:gd name="connsiteY2" fmla="*/ 598637 h 771525"/>
                <a:gd name="connsiteX3" fmla="*/ 375361 w 685800"/>
                <a:gd name="connsiteY3" fmla="*/ 658911 h 771525"/>
                <a:gd name="connsiteX4" fmla="*/ 561899 w 685800"/>
                <a:gd name="connsiteY4" fmla="*/ 593931 h 771525"/>
                <a:gd name="connsiteX5" fmla="*/ 616744 w 685800"/>
                <a:gd name="connsiteY5" fmla="*/ 687896 h 771525"/>
                <a:gd name="connsiteX6" fmla="*/ 524199 w 685800"/>
                <a:gd name="connsiteY6" fmla="*/ 739950 h 771525"/>
                <a:gd name="connsiteX7" fmla="*/ 350044 w 685800"/>
                <a:gd name="connsiteY7" fmla="*/ 768725 h 771525"/>
                <a:gd name="connsiteX8" fmla="*/ 114862 w 685800"/>
                <a:gd name="connsiteY8" fmla="*/ 674780 h 771525"/>
                <a:gd name="connsiteX9" fmla="*/ 7144 w 685800"/>
                <a:gd name="connsiteY9" fmla="*/ 396469 h 771525"/>
                <a:gd name="connsiteX10" fmla="*/ 117481 w 685800"/>
                <a:gd name="connsiteY10" fmla="*/ 105118 h 771525"/>
                <a:gd name="connsiteX11" fmla="*/ 351120 w 685800"/>
                <a:gd name="connsiteY11" fmla="*/ 7144 h 771525"/>
                <a:gd name="connsiteX12" fmla="*/ 597218 w 685800"/>
                <a:gd name="connsiteY12" fmla="*/ 95574 h 771525"/>
                <a:gd name="connsiteX13" fmla="*/ 683514 w 685800"/>
                <a:gd name="connsiteY13" fmla="*/ 321107 h 771525"/>
                <a:gd name="connsiteX14" fmla="*/ 673246 w 685800"/>
                <a:gd name="connsiteY14" fmla="*/ 400641 h 771525"/>
                <a:gd name="connsiteX15" fmla="*/ 357569 w 685800"/>
                <a:gd name="connsiteY15" fmla="*/ 116938 h 771525"/>
                <a:gd name="connsiteX16" fmla="*/ 211484 w 685800"/>
                <a:gd name="connsiteY16" fmla="*/ 173050 h 771525"/>
                <a:gd name="connsiteX17" fmla="*/ 147695 w 685800"/>
                <a:gd name="connsiteY17" fmla="*/ 305810 h 771525"/>
                <a:gd name="connsiteX18" fmla="*/ 554393 w 685800"/>
                <a:gd name="connsiteY18" fmla="*/ 305810 h 771525"/>
                <a:gd name="connsiteX19" fmla="*/ 505044 w 685800"/>
                <a:gd name="connsiteY19" fmla="*/ 174450 h 771525"/>
                <a:gd name="connsiteX20" fmla="*/ 35756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46" y="400641"/>
                  </a:moveTo>
                  <a:lnTo>
                    <a:pt x="144161" y="400641"/>
                  </a:lnTo>
                  <a:cubicBezTo>
                    <a:pt x="144161" y="486518"/>
                    <a:pt x="167716" y="552488"/>
                    <a:pt x="214827" y="598637"/>
                  </a:cubicBezTo>
                  <a:cubicBezTo>
                    <a:pt x="256442" y="638842"/>
                    <a:pt x="309982" y="658911"/>
                    <a:pt x="375361" y="658911"/>
                  </a:cubicBezTo>
                  <a:cubicBezTo>
                    <a:pt x="449847" y="658911"/>
                    <a:pt x="512055" y="637223"/>
                    <a:pt x="561899" y="593931"/>
                  </a:cubicBezTo>
                  <a:lnTo>
                    <a:pt x="616744" y="687896"/>
                  </a:lnTo>
                  <a:cubicBezTo>
                    <a:pt x="596656" y="707993"/>
                    <a:pt x="565804" y="725367"/>
                    <a:pt x="524199" y="739950"/>
                  </a:cubicBezTo>
                  <a:cubicBezTo>
                    <a:pt x="472078" y="759114"/>
                    <a:pt x="414071" y="768725"/>
                    <a:pt x="350044" y="768725"/>
                  </a:cubicBezTo>
                  <a:cubicBezTo>
                    <a:pt x="257718" y="768725"/>
                    <a:pt x="179299" y="737416"/>
                    <a:pt x="114862" y="674780"/>
                  </a:cubicBezTo>
                  <a:cubicBezTo>
                    <a:pt x="43043" y="605828"/>
                    <a:pt x="7144" y="513055"/>
                    <a:pt x="7144" y="396469"/>
                  </a:cubicBezTo>
                  <a:cubicBezTo>
                    <a:pt x="7144" y="275368"/>
                    <a:pt x="43910" y="178241"/>
                    <a:pt x="117481" y="105118"/>
                  </a:cubicBezTo>
                  <a:cubicBezTo>
                    <a:pt x="183261" y="39786"/>
                    <a:pt x="261147" y="7144"/>
                    <a:pt x="351120" y="7144"/>
                  </a:cubicBezTo>
                  <a:cubicBezTo>
                    <a:pt x="455790" y="7144"/>
                    <a:pt x="537791" y="36614"/>
                    <a:pt x="597218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24" y="349910"/>
                    <a:pt x="680104" y="376438"/>
                    <a:pt x="673246" y="400641"/>
                  </a:cubicBezTo>
                  <a:close/>
                  <a:moveTo>
                    <a:pt x="357569" y="116938"/>
                  </a:moveTo>
                  <a:cubicBezTo>
                    <a:pt x="299533" y="116938"/>
                    <a:pt x="250784" y="135674"/>
                    <a:pt x="211484" y="173050"/>
                  </a:cubicBezTo>
                  <a:cubicBezTo>
                    <a:pt x="173993" y="208636"/>
                    <a:pt x="152733" y="252879"/>
                    <a:pt x="147695" y="305810"/>
                  </a:cubicBezTo>
                  <a:lnTo>
                    <a:pt x="554393" y="305810"/>
                  </a:lnTo>
                  <a:cubicBezTo>
                    <a:pt x="554393" y="253375"/>
                    <a:pt x="537924" y="209588"/>
                    <a:pt x="505044" y="174450"/>
                  </a:cubicBezTo>
                  <a:cubicBezTo>
                    <a:pt x="468906" y="136103"/>
                    <a:pt x="419786" y="116938"/>
                    <a:pt x="35756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" name="Forme libre : forme 110">
              <a:extLst>
                <a:ext uri="{FF2B5EF4-FFF2-40B4-BE49-F238E27FC236}">
                  <a16:creationId xmlns:a16="http://schemas.microsoft.com/office/drawing/2014/main" id="{52DD5489-5FA5-4159-A400-D983F29F9C5F}"/>
                </a:ext>
              </a:extLst>
            </p:cNvPr>
            <p:cNvSpPr/>
            <p:nvPr/>
          </p:nvSpPr>
          <p:spPr>
            <a:xfrm>
              <a:off x="4343860" y="2249040"/>
              <a:ext cx="676275" cy="762000"/>
            </a:xfrm>
            <a:custGeom>
              <a:avLst/>
              <a:gdLst>
                <a:gd name="connsiteX0" fmla="*/ 355873 w 676275"/>
                <a:gd name="connsiteY0" fmla="*/ 756428 h 762000"/>
                <a:gd name="connsiteX1" fmla="*/ 321631 w 676275"/>
                <a:gd name="connsiteY1" fmla="*/ 756428 h 762000"/>
                <a:gd name="connsiteX2" fmla="*/ 7144 w 676275"/>
                <a:gd name="connsiteY2" fmla="*/ 7144 h 762000"/>
                <a:gd name="connsiteX3" fmla="*/ 149447 w 676275"/>
                <a:gd name="connsiteY3" fmla="*/ 7144 h 762000"/>
                <a:gd name="connsiteX4" fmla="*/ 343586 w 676275"/>
                <a:gd name="connsiteY4" fmla="*/ 521017 h 762000"/>
                <a:gd name="connsiteX5" fmla="*/ 542115 w 676275"/>
                <a:gd name="connsiteY5" fmla="*/ 7144 h 762000"/>
                <a:gd name="connsiteX6" fmla="*/ 678266 w 676275"/>
                <a:gd name="connsiteY6" fmla="*/ 7144 h 762000"/>
                <a:gd name="connsiteX7" fmla="*/ 355873 w 676275"/>
                <a:gd name="connsiteY7" fmla="*/ 75642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275" h="762000">
                  <a:moveTo>
                    <a:pt x="355873" y="756428"/>
                  </a:moveTo>
                  <a:lnTo>
                    <a:pt x="321631" y="756428"/>
                  </a:lnTo>
                  <a:lnTo>
                    <a:pt x="7144" y="7144"/>
                  </a:lnTo>
                  <a:lnTo>
                    <a:pt x="149447" y="7144"/>
                  </a:lnTo>
                  <a:lnTo>
                    <a:pt x="343586" y="521017"/>
                  </a:lnTo>
                  <a:lnTo>
                    <a:pt x="542115" y="7144"/>
                  </a:lnTo>
                  <a:lnTo>
                    <a:pt x="678266" y="7144"/>
                  </a:lnTo>
                  <a:lnTo>
                    <a:pt x="355873" y="756428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" name="Forme libre : forme 111">
              <a:extLst>
                <a:ext uri="{FF2B5EF4-FFF2-40B4-BE49-F238E27FC236}">
                  <a16:creationId xmlns:a16="http://schemas.microsoft.com/office/drawing/2014/main" id="{A75AAFCD-35FF-4DEE-A912-0E394C43D96A}"/>
                </a:ext>
              </a:extLst>
            </p:cNvPr>
            <p:cNvSpPr/>
            <p:nvPr/>
          </p:nvSpPr>
          <p:spPr>
            <a:xfrm>
              <a:off x="5067808" y="2236734"/>
              <a:ext cx="685800" cy="771525"/>
            </a:xfrm>
            <a:custGeom>
              <a:avLst/>
              <a:gdLst>
                <a:gd name="connsiteX0" fmla="*/ 673227 w 685800"/>
                <a:gd name="connsiteY0" fmla="*/ 400641 h 771525"/>
                <a:gd name="connsiteX1" fmla="*/ 144151 w 685800"/>
                <a:gd name="connsiteY1" fmla="*/ 400641 h 771525"/>
                <a:gd name="connsiteX2" fmla="*/ 214827 w 685800"/>
                <a:gd name="connsiteY2" fmla="*/ 598637 h 771525"/>
                <a:gd name="connsiteX3" fmla="*/ 375295 w 685800"/>
                <a:gd name="connsiteY3" fmla="*/ 658911 h 771525"/>
                <a:gd name="connsiteX4" fmla="*/ 561832 w 685800"/>
                <a:gd name="connsiteY4" fmla="*/ 593931 h 771525"/>
                <a:gd name="connsiteX5" fmla="*/ 616791 w 685800"/>
                <a:gd name="connsiteY5" fmla="*/ 687896 h 771525"/>
                <a:gd name="connsiteX6" fmla="*/ 524208 w 685800"/>
                <a:gd name="connsiteY6" fmla="*/ 739950 h 771525"/>
                <a:gd name="connsiteX7" fmla="*/ 349996 w 685800"/>
                <a:gd name="connsiteY7" fmla="*/ 768725 h 771525"/>
                <a:gd name="connsiteX8" fmla="*/ 114805 w 685800"/>
                <a:gd name="connsiteY8" fmla="*/ 674780 h 771525"/>
                <a:gd name="connsiteX9" fmla="*/ 7144 w 685800"/>
                <a:gd name="connsiteY9" fmla="*/ 396469 h 771525"/>
                <a:gd name="connsiteX10" fmla="*/ 117491 w 685800"/>
                <a:gd name="connsiteY10" fmla="*/ 105118 h 771525"/>
                <a:gd name="connsiteX11" fmla="*/ 351158 w 685800"/>
                <a:gd name="connsiteY11" fmla="*/ 7144 h 771525"/>
                <a:gd name="connsiteX12" fmla="*/ 597180 w 685800"/>
                <a:gd name="connsiteY12" fmla="*/ 95574 h 771525"/>
                <a:gd name="connsiteX13" fmla="*/ 683514 w 685800"/>
                <a:gd name="connsiteY13" fmla="*/ 321107 h 771525"/>
                <a:gd name="connsiteX14" fmla="*/ 673227 w 685800"/>
                <a:gd name="connsiteY14" fmla="*/ 400641 h 771525"/>
                <a:gd name="connsiteX15" fmla="*/ 357559 w 685800"/>
                <a:gd name="connsiteY15" fmla="*/ 116938 h 771525"/>
                <a:gd name="connsiteX16" fmla="*/ 211474 w 685800"/>
                <a:gd name="connsiteY16" fmla="*/ 173050 h 771525"/>
                <a:gd name="connsiteX17" fmla="*/ 147695 w 685800"/>
                <a:gd name="connsiteY17" fmla="*/ 305810 h 771525"/>
                <a:gd name="connsiteX18" fmla="*/ 554364 w 685800"/>
                <a:gd name="connsiteY18" fmla="*/ 305810 h 771525"/>
                <a:gd name="connsiteX19" fmla="*/ 504968 w 685800"/>
                <a:gd name="connsiteY19" fmla="*/ 174450 h 771525"/>
                <a:gd name="connsiteX20" fmla="*/ 357559 w 685800"/>
                <a:gd name="connsiteY20" fmla="*/ 116938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771525">
                  <a:moveTo>
                    <a:pt x="673227" y="400641"/>
                  </a:moveTo>
                  <a:lnTo>
                    <a:pt x="144151" y="400641"/>
                  </a:lnTo>
                  <a:cubicBezTo>
                    <a:pt x="144151" y="486518"/>
                    <a:pt x="167726" y="552488"/>
                    <a:pt x="214827" y="598637"/>
                  </a:cubicBezTo>
                  <a:cubicBezTo>
                    <a:pt x="256422" y="638842"/>
                    <a:pt x="309915" y="658911"/>
                    <a:pt x="375295" y="658911"/>
                  </a:cubicBezTo>
                  <a:cubicBezTo>
                    <a:pt x="449875" y="658911"/>
                    <a:pt x="512026" y="637223"/>
                    <a:pt x="561832" y="593931"/>
                  </a:cubicBezTo>
                  <a:lnTo>
                    <a:pt x="616791" y="687896"/>
                  </a:lnTo>
                  <a:cubicBezTo>
                    <a:pt x="596665" y="707993"/>
                    <a:pt x="565795" y="725367"/>
                    <a:pt x="524208" y="739950"/>
                  </a:cubicBezTo>
                  <a:cubicBezTo>
                    <a:pt x="472031" y="759114"/>
                    <a:pt x="414023" y="768725"/>
                    <a:pt x="349996" y="768725"/>
                  </a:cubicBezTo>
                  <a:cubicBezTo>
                    <a:pt x="257642" y="768725"/>
                    <a:pt x="179241" y="737416"/>
                    <a:pt x="114805" y="674780"/>
                  </a:cubicBezTo>
                  <a:cubicBezTo>
                    <a:pt x="43053" y="605828"/>
                    <a:pt x="7144" y="513055"/>
                    <a:pt x="7144" y="396469"/>
                  </a:cubicBezTo>
                  <a:cubicBezTo>
                    <a:pt x="7144" y="275368"/>
                    <a:pt x="43920" y="178241"/>
                    <a:pt x="117491" y="105118"/>
                  </a:cubicBezTo>
                  <a:cubicBezTo>
                    <a:pt x="183261" y="39786"/>
                    <a:pt x="261118" y="7144"/>
                    <a:pt x="351158" y="7144"/>
                  </a:cubicBezTo>
                  <a:cubicBezTo>
                    <a:pt x="455790" y="7144"/>
                    <a:pt x="537763" y="36614"/>
                    <a:pt x="597180" y="95574"/>
                  </a:cubicBezTo>
                  <a:cubicBezTo>
                    <a:pt x="654739" y="152238"/>
                    <a:pt x="683514" y="227457"/>
                    <a:pt x="683514" y="321107"/>
                  </a:cubicBezTo>
                  <a:cubicBezTo>
                    <a:pt x="683514" y="349910"/>
                    <a:pt x="680113" y="376438"/>
                    <a:pt x="673227" y="400641"/>
                  </a:cubicBezTo>
                  <a:close/>
                  <a:moveTo>
                    <a:pt x="357559" y="116938"/>
                  </a:moveTo>
                  <a:cubicBezTo>
                    <a:pt x="299495" y="116938"/>
                    <a:pt x="250774" y="135674"/>
                    <a:pt x="211474" y="173050"/>
                  </a:cubicBezTo>
                  <a:cubicBezTo>
                    <a:pt x="173984" y="208636"/>
                    <a:pt x="152733" y="252879"/>
                    <a:pt x="147695" y="305810"/>
                  </a:cubicBezTo>
                  <a:lnTo>
                    <a:pt x="554364" y="305810"/>
                  </a:lnTo>
                  <a:cubicBezTo>
                    <a:pt x="554364" y="253375"/>
                    <a:pt x="537915" y="209588"/>
                    <a:pt x="504968" y="174450"/>
                  </a:cubicBezTo>
                  <a:cubicBezTo>
                    <a:pt x="468849" y="136103"/>
                    <a:pt x="419710" y="116938"/>
                    <a:pt x="357559" y="116938"/>
                  </a:cubicBez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" name="Forme libre : forme 112">
              <a:extLst>
                <a:ext uri="{FF2B5EF4-FFF2-40B4-BE49-F238E27FC236}">
                  <a16:creationId xmlns:a16="http://schemas.microsoft.com/office/drawing/2014/main" id="{088EE795-D007-467B-8DFB-6D1D135687B5}"/>
                </a:ext>
              </a:extLst>
            </p:cNvPr>
            <p:cNvSpPr/>
            <p:nvPr/>
          </p:nvSpPr>
          <p:spPr>
            <a:xfrm>
              <a:off x="5880319" y="2236743"/>
              <a:ext cx="590550" cy="752475"/>
            </a:xfrm>
            <a:custGeom>
              <a:avLst/>
              <a:gdLst>
                <a:gd name="connsiteX0" fmla="*/ 458667 w 590550"/>
                <a:gd name="connsiteY0" fmla="*/ 754666 h 752475"/>
                <a:gd name="connsiteX1" fmla="*/ 458667 w 590550"/>
                <a:gd name="connsiteY1" fmla="*/ 327908 h 752475"/>
                <a:gd name="connsiteX2" fmla="*/ 423386 w 590550"/>
                <a:gd name="connsiteY2" fmla="*/ 163859 h 752475"/>
                <a:gd name="connsiteX3" fmla="*/ 305105 w 590550"/>
                <a:gd name="connsiteY3" fmla="*/ 116919 h 752475"/>
                <a:gd name="connsiteX4" fmla="*/ 211874 w 590550"/>
                <a:gd name="connsiteY4" fmla="*/ 143675 h 752475"/>
                <a:gd name="connsiteX5" fmla="*/ 137170 w 590550"/>
                <a:gd name="connsiteY5" fmla="*/ 209417 h 752475"/>
                <a:gd name="connsiteX6" fmla="*/ 137170 w 590550"/>
                <a:gd name="connsiteY6" fmla="*/ 754656 h 752475"/>
                <a:gd name="connsiteX7" fmla="*/ 7144 w 590550"/>
                <a:gd name="connsiteY7" fmla="*/ 754656 h 752475"/>
                <a:gd name="connsiteX8" fmla="*/ 7144 w 590550"/>
                <a:gd name="connsiteY8" fmla="*/ 21193 h 752475"/>
                <a:gd name="connsiteX9" fmla="*/ 96231 w 590550"/>
                <a:gd name="connsiteY9" fmla="*/ 21193 h 752475"/>
                <a:gd name="connsiteX10" fmla="*/ 137284 w 590550"/>
                <a:gd name="connsiteY10" fmla="*/ 115719 h 752475"/>
                <a:gd name="connsiteX11" fmla="*/ 347529 w 590550"/>
                <a:gd name="connsiteY11" fmla="*/ 7144 h 752475"/>
                <a:gd name="connsiteX12" fmla="*/ 588673 w 590550"/>
                <a:gd name="connsiteY12" fmla="*/ 300352 h 752475"/>
                <a:gd name="connsiteX13" fmla="*/ 588673 w 590550"/>
                <a:gd name="connsiteY13" fmla="*/ 754666 h 752475"/>
                <a:gd name="connsiteX14" fmla="*/ 458667 w 590550"/>
                <a:gd name="connsiteY14" fmla="*/ 754666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90550" h="752475">
                  <a:moveTo>
                    <a:pt x="458667" y="754666"/>
                  </a:moveTo>
                  <a:lnTo>
                    <a:pt x="458667" y="327908"/>
                  </a:lnTo>
                  <a:cubicBezTo>
                    <a:pt x="458667" y="249831"/>
                    <a:pt x="446922" y="195148"/>
                    <a:pt x="423386" y="163859"/>
                  </a:cubicBezTo>
                  <a:cubicBezTo>
                    <a:pt x="399812" y="132559"/>
                    <a:pt x="360378" y="116919"/>
                    <a:pt x="305105" y="116919"/>
                  </a:cubicBezTo>
                  <a:cubicBezTo>
                    <a:pt x="275415" y="116919"/>
                    <a:pt x="244335" y="125835"/>
                    <a:pt x="211874" y="143675"/>
                  </a:cubicBezTo>
                  <a:cubicBezTo>
                    <a:pt x="179432" y="161439"/>
                    <a:pt x="154496" y="183413"/>
                    <a:pt x="137170" y="209417"/>
                  </a:cubicBezTo>
                  <a:lnTo>
                    <a:pt x="137170" y="754656"/>
                  </a:lnTo>
                  <a:lnTo>
                    <a:pt x="7144" y="754656"/>
                  </a:lnTo>
                  <a:lnTo>
                    <a:pt x="7144" y="21193"/>
                  </a:lnTo>
                  <a:lnTo>
                    <a:pt x="96231" y="21193"/>
                  </a:lnTo>
                  <a:lnTo>
                    <a:pt x="137284" y="115719"/>
                  </a:lnTo>
                  <a:cubicBezTo>
                    <a:pt x="180222" y="43282"/>
                    <a:pt x="250317" y="7144"/>
                    <a:pt x="347529" y="7144"/>
                  </a:cubicBezTo>
                  <a:cubicBezTo>
                    <a:pt x="508302" y="7144"/>
                    <a:pt x="588673" y="104918"/>
                    <a:pt x="588673" y="300352"/>
                  </a:cubicBezTo>
                  <a:lnTo>
                    <a:pt x="588673" y="754666"/>
                  </a:lnTo>
                  <a:lnTo>
                    <a:pt x="458667" y="754666"/>
                  </a:lnTo>
                  <a:close/>
                </a:path>
              </a:pathLst>
            </a:custGeom>
            <a:solidFill>
              <a:srgbClr val="289B3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" name="Forme libre : forme 113">
              <a:extLst>
                <a:ext uri="{FF2B5EF4-FFF2-40B4-BE49-F238E27FC236}">
                  <a16:creationId xmlns:a16="http://schemas.microsoft.com/office/drawing/2014/main" id="{FAEC69A0-0687-4831-ABB6-7ED1B1B1A5E7}"/>
                </a:ext>
              </a:extLst>
            </p:cNvPr>
            <p:cNvSpPr/>
            <p:nvPr/>
          </p:nvSpPr>
          <p:spPr>
            <a:xfrm>
              <a:off x="2428087" y="3174813"/>
              <a:ext cx="161925" cy="238125"/>
            </a:xfrm>
            <a:custGeom>
              <a:avLst/>
              <a:gdLst>
                <a:gd name="connsiteX0" fmla="*/ 7144 w 161925"/>
                <a:gd name="connsiteY0" fmla="*/ 217989 h 238125"/>
                <a:gd name="connsiteX1" fmla="*/ 21717 w 161925"/>
                <a:gd name="connsiteY1" fmla="*/ 181032 h 238125"/>
                <a:gd name="connsiteX2" fmla="*/ 77400 w 161925"/>
                <a:gd name="connsiteY2" fmla="*/ 202378 h 238125"/>
                <a:gd name="connsiteX3" fmla="*/ 115691 w 161925"/>
                <a:gd name="connsiteY3" fmla="*/ 172002 h 238125"/>
                <a:gd name="connsiteX4" fmla="*/ 78715 w 161925"/>
                <a:gd name="connsiteY4" fmla="*/ 134636 h 238125"/>
                <a:gd name="connsiteX5" fmla="*/ 40319 w 161925"/>
                <a:gd name="connsiteY5" fmla="*/ 115957 h 238125"/>
                <a:gd name="connsiteX6" fmla="*/ 23136 w 161925"/>
                <a:gd name="connsiteY6" fmla="*/ 101479 h 238125"/>
                <a:gd name="connsiteX7" fmla="*/ 12259 w 161925"/>
                <a:gd name="connsiteY7" fmla="*/ 84230 h 238125"/>
                <a:gd name="connsiteX8" fmla="*/ 8677 w 161925"/>
                <a:gd name="connsiteY8" fmla="*/ 64627 h 238125"/>
                <a:gd name="connsiteX9" fmla="*/ 29556 w 161925"/>
                <a:gd name="connsiteY9" fmla="*/ 22346 h 238125"/>
                <a:gd name="connsiteX10" fmla="*/ 84153 w 161925"/>
                <a:gd name="connsiteY10" fmla="*/ 7144 h 238125"/>
                <a:gd name="connsiteX11" fmla="*/ 148323 w 161925"/>
                <a:gd name="connsiteY11" fmla="*/ 22346 h 238125"/>
                <a:gd name="connsiteX12" fmla="*/ 136579 w 161925"/>
                <a:gd name="connsiteY12" fmla="*/ 58474 h 238125"/>
                <a:gd name="connsiteX13" fmla="*/ 87201 w 161925"/>
                <a:gd name="connsiteY13" fmla="*/ 40005 h 238125"/>
                <a:gd name="connsiteX14" fmla="*/ 62293 w 161925"/>
                <a:gd name="connsiteY14" fmla="*/ 46568 h 238125"/>
                <a:gd name="connsiteX15" fmla="*/ 52178 w 161925"/>
                <a:gd name="connsiteY15" fmla="*/ 63189 h 238125"/>
                <a:gd name="connsiteX16" fmla="*/ 77629 w 161925"/>
                <a:gd name="connsiteY16" fmla="*/ 95212 h 238125"/>
                <a:gd name="connsiteX17" fmla="*/ 107213 w 161925"/>
                <a:gd name="connsiteY17" fmla="*/ 107937 h 238125"/>
                <a:gd name="connsiteX18" fmla="*/ 146799 w 161925"/>
                <a:gd name="connsiteY18" fmla="*/ 134626 h 238125"/>
                <a:gd name="connsiteX19" fmla="*/ 159201 w 161925"/>
                <a:gd name="connsiteY19" fmla="*/ 172193 h 238125"/>
                <a:gd name="connsiteX20" fmla="*/ 137227 w 161925"/>
                <a:gd name="connsiteY20" fmla="*/ 218484 h 238125"/>
                <a:gd name="connsiteX21" fmla="*/ 76314 w 161925"/>
                <a:gd name="connsiteY21" fmla="*/ 235210 h 238125"/>
                <a:gd name="connsiteX22" fmla="*/ 7144 w 161925"/>
                <a:gd name="connsiteY22" fmla="*/ 21798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925" h="238125">
                  <a:moveTo>
                    <a:pt x="7144" y="217989"/>
                  </a:moveTo>
                  <a:lnTo>
                    <a:pt x="21717" y="181032"/>
                  </a:lnTo>
                  <a:cubicBezTo>
                    <a:pt x="44777" y="195263"/>
                    <a:pt x="63341" y="202378"/>
                    <a:pt x="77400" y="202378"/>
                  </a:cubicBezTo>
                  <a:cubicBezTo>
                    <a:pt x="102927" y="202378"/>
                    <a:pt x="115691" y="192253"/>
                    <a:pt x="115691" y="172002"/>
                  </a:cubicBezTo>
                  <a:cubicBezTo>
                    <a:pt x="115691" y="157505"/>
                    <a:pt x="103365" y="145047"/>
                    <a:pt x="78715" y="134636"/>
                  </a:cubicBezTo>
                  <a:cubicBezTo>
                    <a:pt x="59712" y="126435"/>
                    <a:pt x="46920" y="120196"/>
                    <a:pt x="40319" y="115957"/>
                  </a:cubicBezTo>
                  <a:cubicBezTo>
                    <a:pt x="33718" y="111719"/>
                    <a:pt x="27994" y="106899"/>
                    <a:pt x="23136" y="101479"/>
                  </a:cubicBezTo>
                  <a:cubicBezTo>
                    <a:pt x="18278" y="96079"/>
                    <a:pt x="14649" y="90326"/>
                    <a:pt x="12259" y="84230"/>
                  </a:cubicBezTo>
                  <a:cubicBezTo>
                    <a:pt x="9868" y="78143"/>
                    <a:pt x="8677" y="71609"/>
                    <a:pt x="8677" y="64627"/>
                  </a:cubicBezTo>
                  <a:cubicBezTo>
                    <a:pt x="8677" y="46568"/>
                    <a:pt x="15631" y="32471"/>
                    <a:pt x="29556" y="22346"/>
                  </a:cubicBezTo>
                  <a:cubicBezTo>
                    <a:pt x="43472" y="12221"/>
                    <a:pt x="61674" y="7144"/>
                    <a:pt x="84153" y="7144"/>
                  </a:cubicBezTo>
                  <a:cubicBezTo>
                    <a:pt x="101117" y="7144"/>
                    <a:pt x="122511" y="12211"/>
                    <a:pt x="148323" y="22346"/>
                  </a:cubicBezTo>
                  <a:lnTo>
                    <a:pt x="136579" y="58474"/>
                  </a:lnTo>
                  <a:cubicBezTo>
                    <a:pt x="120186" y="46158"/>
                    <a:pt x="103737" y="40005"/>
                    <a:pt x="87201" y="40005"/>
                  </a:cubicBezTo>
                  <a:cubicBezTo>
                    <a:pt x="77333" y="40005"/>
                    <a:pt x="69037" y="42186"/>
                    <a:pt x="62293" y="46568"/>
                  </a:cubicBezTo>
                  <a:cubicBezTo>
                    <a:pt x="55550" y="50949"/>
                    <a:pt x="52178" y="56493"/>
                    <a:pt x="52178" y="63189"/>
                  </a:cubicBezTo>
                  <a:cubicBezTo>
                    <a:pt x="52178" y="77286"/>
                    <a:pt x="60665" y="87963"/>
                    <a:pt x="77629" y="95212"/>
                  </a:cubicBezTo>
                  <a:lnTo>
                    <a:pt x="107213" y="107937"/>
                  </a:lnTo>
                  <a:cubicBezTo>
                    <a:pt x="125339" y="115738"/>
                    <a:pt x="138541" y="124644"/>
                    <a:pt x="146799" y="134626"/>
                  </a:cubicBezTo>
                  <a:cubicBezTo>
                    <a:pt x="155067" y="144628"/>
                    <a:pt x="159201" y="157143"/>
                    <a:pt x="159201" y="172193"/>
                  </a:cubicBezTo>
                  <a:cubicBezTo>
                    <a:pt x="159201" y="191900"/>
                    <a:pt x="151876" y="207331"/>
                    <a:pt x="137227" y="218484"/>
                  </a:cubicBezTo>
                  <a:cubicBezTo>
                    <a:pt x="122577" y="229638"/>
                    <a:pt x="102279" y="235210"/>
                    <a:pt x="76314" y="235210"/>
                  </a:cubicBezTo>
                  <a:cubicBezTo>
                    <a:pt x="51816" y="235229"/>
                    <a:pt x="28756" y="229476"/>
                    <a:pt x="7144" y="217989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orme libre : forme 114">
              <a:extLst>
                <a:ext uri="{FF2B5EF4-FFF2-40B4-BE49-F238E27FC236}">
                  <a16:creationId xmlns:a16="http://schemas.microsoft.com/office/drawing/2014/main" id="{C70ABF13-A3BB-40AE-82B8-C76685C17BB0}"/>
                </a:ext>
              </a:extLst>
            </p:cNvPr>
            <p:cNvSpPr/>
            <p:nvPr/>
          </p:nvSpPr>
          <p:spPr>
            <a:xfrm>
              <a:off x="2614139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2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2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orme libre : forme 115">
              <a:extLst>
                <a:ext uri="{FF2B5EF4-FFF2-40B4-BE49-F238E27FC236}">
                  <a16:creationId xmlns:a16="http://schemas.microsoft.com/office/drawing/2014/main" id="{CCD33DA9-D13B-4B91-9B5F-A81EE56A9444}"/>
                </a:ext>
              </a:extLst>
            </p:cNvPr>
            <p:cNvSpPr/>
            <p:nvPr/>
          </p:nvSpPr>
          <p:spPr>
            <a:xfrm>
              <a:off x="2808878" y="3174823"/>
              <a:ext cx="152400" cy="238125"/>
            </a:xfrm>
            <a:custGeom>
              <a:avLst/>
              <a:gdLst>
                <a:gd name="connsiteX0" fmla="*/ 130483 w 152400"/>
                <a:gd name="connsiteY0" fmla="*/ 48816 h 238125"/>
                <a:gd name="connsiteX1" fmla="*/ 103299 w 152400"/>
                <a:gd name="connsiteY1" fmla="*/ 39995 h 238125"/>
                <a:gd name="connsiteX2" fmla="*/ 64903 w 152400"/>
                <a:gd name="connsiteY2" fmla="*/ 59083 h 238125"/>
                <a:gd name="connsiteX3" fmla="*/ 48473 w 152400"/>
                <a:gd name="connsiteY3" fmla="*/ 105061 h 238125"/>
                <a:gd name="connsiteX4" fmla="*/ 48473 w 152400"/>
                <a:gd name="connsiteY4" fmla="*/ 231105 h 238125"/>
                <a:gd name="connsiteX5" fmla="*/ 7144 w 152400"/>
                <a:gd name="connsiteY5" fmla="*/ 231105 h 238125"/>
                <a:gd name="connsiteX6" fmla="*/ 7144 w 152400"/>
                <a:gd name="connsiteY6" fmla="*/ 11249 h 238125"/>
                <a:gd name="connsiteX7" fmla="*/ 48473 w 152400"/>
                <a:gd name="connsiteY7" fmla="*/ 11249 h 238125"/>
                <a:gd name="connsiteX8" fmla="*/ 48473 w 152400"/>
                <a:gd name="connsiteY8" fmla="*/ 46358 h 238125"/>
                <a:gd name="connsiteX9" fmla="*/ 115691 w 152400"/>
                <a:gd name="connsiteY9" fmla="*/ 7144 h 238125"/>
                <a:gd name="connsiteX10" fmla="*/ 147666 w 152400"/>
                <a:gd name="connsiteY10" fmla="*/ 10849 h 238125"/>
                <a:gd name="connsiteX11" fmla="*/ 130483 w 152400"/>
                <a:gd name="connsiteY11" fmla="*/ 48816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238125">
                  <a:moveTo>
                    <a:pt x="130483" y="48816"/>
                  </a:moveTo>
                  <a:cubicBezTo>
                    <a:pt x="121491" y="42939"/>
                    <a:pt x="112424" y="39995"/>
                    <a:pt x="103299" y="39995"/>
                  </a:cubicBezTo>
                  <a:cubicBezTo>
                    <a:pt x="88649" y="39995"/>
                    <a:pt x="75848" y="46358"/>
                    <a:pt x="64903" y="59083"/>
                  </a:cubicBezTo>
                  <a:cubicBezTo>
                    <a:pt x="53950" y="71809"/>
                    <a:pt x="48473" y="87135"/>
                    <a:pt x="48473" y="105061"/>
                  </a:cubicBezTo>
                  <a:lnTo>
                    <a:pt x="48473" y="231105"/>
                  </a:lnTo>
                  <a:lnTo>
                    <a:pt x="7144" y="231105"/>
                  </a:lnTo>
                  <a:lnTo>
                    <a:pt x="7144" y="11249"/>
                  </a:lnTo>
                  <a:lnTo>
                    <a:pt x="48473" y="11249"/>
                  </a:lnTo>
                  <a:lnTo>
                    <a:pt x="48473" y="46358"/>
                  </a:lnTo>
                  <a:cubicBezTo>
                    <a:pt x="63551" y="20221"/>
                    <a:pt x="85963" y="7144"/>
                    <a:pt x="115691" y="7144"/>
                  </a:cubicBezTo>
                  <a:cubicBezTo>
                    <a:pt x="123082" y="7144"/>
                    <a:pt x="133750" y="8382"/>
                    <a:pt x="147666" y="10849"/>
                  </a:cubicBezTo>
                  <a:lnTo>
                    <a:pt x="130483" y="4881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orme libre : forme 116">
              <a:extLst>
                <a:ext uri="{FF2B5EF4-FFF2-40B4-BE49-F238E27FC236}">
                  <a16:creationId xmlns:a16="http://schemas.microsoft.com/office/drawing/2014/main" id="{695622D9-9E9E-414E-A056-7CD9D3F0C583}"/>
                </a:ext>
              </a:extLst>
            </p:cNvPr>
            <p:cNvSpPr/>
            <p:nvPr/>
          </p:nvSpPr>
          <p:spPr>
            <a:xfrm>
              <a:off x="2969488" y="3174813"/>
              <a:ext cx="209550" cy="238125"/>
            </a:xfrm>
            <a:custGeom>
              <a:avLst/>
              <a:gdLst>
                <a:gd name="connsiteX0" fmla="*/ 150705 w 209550"/>
                <a:gd name="connsiteY0" fmla="*/ 205873 h 238125"/>
                <a:gd name="connsiteX1" fmla="*/ 74790 w 209550"/>
                <a:gd name="connsiteY1" fmla="*/ 235229 h 238125"/>
                <a:gd name="connsiteX2" fmla="*/ 27261 w 209550"/>
                <a:gd name="connsiteY2" fmla="*/ 216446 h 238125"/>
                <a:gd name="connsiteX3" fmla="*/ 7144 w 209550"/>
                <a:gd name="connsiteY3" fmla="*/ 169745 h 238125"/>
                <a:gd name="connsiteX4" fmla="*/ 38138 w 209550"/>
                <a:gd name="connsiteY4" fmla="*/ 113186 h 238125"/>
                <a:gd name="connsiteX5" fmla="*/ 117205 w 209550"/>
                <a:gd name="connsiteY5" fmla="*/ 90088 h 238125"/>
                <a:gd name="connsiteX6" fmla="*/ 146790 w 209550"/>
                <a:gd name="connsiteY6" fmla="*/ 95431 h 238125"/>
                <a:gd name="connsiteX7" fmla="*/ 96326 w 209550"/>
                <a:gd name="connsiteY7" fmla="*/ 42053 h 238125"/>
                <a:gd name="connsiteX8" fmla="*/ 36728 w 209550"/>
                <a:gd name="connsiteY8" fmla="*/ 61760 h 238125"/>
                <a:gd name="connsiteX9" fmla="*/ 19326 w 209550"/>
                <a:gd name="connsiteY9" fmla="*/ 29118 h 238125"/>
                <a:gd name="connsiteX10" fmla="*/ 51845 w 209550"/>
                <a:gd name="connsiteY10" fmla="*/ 13621 h 238125"/>
                <a:gd name="connsiteX11" fmla="*/ 91545 w 209550"/>
                <a:gd name="connsiteY11" fmla="*/ 7144 h 238125"/>
                <a:gd name="connsiteX12" fmla="*/ 165173 w 209550"/>
                <a:gd name="connsiteY12" fmla="*/ 28908 h 238125"/>
                <a:gd name="connsiteX13" fmla="*/ 188128 w 209550"/>
                <a:gd name="connsiteY13" fmla="*/ 98088 h 238125"/>
                <a:gd name="connsiteX14" fmla="*/ 188128 w 209550"/>
                <a:gd name="connsiteY14" fmla="*/ 176917 h 238125"/>
                <a:gd name="connsiteX15" fmla="*/ 206397 w 209550"/>
                <a:gd name="connsiteY15" fmla="*/ 215513 h 238125"/>
                <a:gd name="connsiteX16" fmla="*/ 206397 w 209550"/>
                <a:gd name="connsiteY16" fmla="*/ 235010 h 238125"/>
                <a:gd name="connsiteX17" fmla="*/ 168659 w 209550"/>
                <a:gd name="connsiteY17" fmla="*/ 228238 h 238125"/>
                <a:gd name="connsiteX18" fmla="*/ 150705 w 209550"/>
                <a:gd name="connsiteY18" fmla="*/ 205873 h 238125"/>
                <a:gd name="connsiteX19" fmla="*/ 146790 w 209550"/>
                <a:gd name="connsiteY19" fmla="*/ 123149 h 238125"/>
                <a:gd name="connsiteX20" fmla="*/ 119386 w 209550"/>
                <a:gd name="connsiteY20" fmla="*/ 119034 h 238125"/>
                <a:gd name="connsiteX21" fmla="*/ 68266 w 209550"/>
                <a:gd name="connsiteY21" fmla="*/ 134226 h 238125"/>
                <a:gd name="connsiteX22" fmla="*/ 48473 w 209550"/>
                <a:gd name="connsiteY22" fmla="*/ 170145 h 238125"/>
                <a:gd name="connsiteX23" fmla="*/ 91326 w 209550"/>
                <a:gd name="connsiteY23" fmla="*/ 204435 h 238125"/>
                <a:gd name="connsiteX24" fmla="*/ 146799 w 209550"/>
                <a:gd name="connsiteY24" fmla="*/ 176317 h 238125"/>
                <a:gd name="connsiteX25" fmla="*/ 146799 w 209550"/>
                <a:gd name="connsiteY25" fmla="*/ 123149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550" h="238125">
                  <a:moveTo>
                    <a:pt x="150705" y="205873"/>
                  </a:moveTo>
                  <a:cubicBezTo>
                    <a:pt x="134169" y="225457"/>
                    <a:pt x="108861" y="235229"/>
                    <a:pt x="74790" y="235229"/>
                  </a:cubicBezTo>
                  <a:cubicBezTo>
                    <a:pt x="56521" y="235229"/>
                    <a:pt x="40672" y="228971"/>
                    <a:pt x="27261" y="216446"/>
                  </a:cubicBezTo>
                  <a:cubicBezTo>
                    <a:pt x="13849" y="203921"/>
                    <a:pt x="7144" y="188357"/>
                    <a:pt x="7144" y="169745"/>
                  </a:cubicBezTo>
                  <a:cubicBezTo>
                    <a:pt x="7144" y="147438"/>
                    <a:pt x="17469" y="128588"/>
                    <a:pt x="38138" y="113186"/>
                  </a:cubicBezTo>
                  <a:cubicBezTo>
                    <a:pt x="58798" y="97793"/>
                    <a:pt x="85163" y="90088"/>
                    <a:pt x="117205" y="90088"/>
                  </a:cubicBezTo>
                  <a:cubicBezTo>
                    <a:pt x="125911" y="90088"/>
                    <a:pt x="135769" y="91878"/>
                    <a:pt x="146790" y="95431"/>
                  </a:cubicBezTo>
                  <a:cubicBezTo>
                    <a:pt x="146790" y="59855"/>
                    <a:pt x="129959" y="42053"/>
                    <a:pt x="96326" y="42053"/>
                  </a:cubicBezTo>
                  <a:cubicBezTo>
                    <a:pt x="70514" y="42053"/>
                    <a:pt x="50644" y="48616"/>
                    <a:pt x="36728" y="61760"/>
                  </a:cubicBezTo>
                  <a:lnTo>
                    <a:pt x="19326" y="29118"/>
                  </a:lnTo>
                  <a:cubicBezTo>
                    <a:pt x="27156" y="23098"/>
                    <a:pt x="37995" y="17926"/>
                    <a:pt x="51845" y="13621"/>
                  </a:cubicBezTo>
                  <a:cubicBezTo>
                    <a:pt x="65694" y="9306"/>
                    <a:pt x="78924" y="7144"/>
                    <a:pt x="91545" y="7144"/>
                  </a:cubicBezTo>
                  <a:cubicBezTo>
                    <a:pt x="125330" y="7144"/>
                    <a:pt x="149876" y="14402"/>
                    <a:pt x="165173" y="28908"/>
                  </a:cubicBezTo>
                  <a:cubicBezTo>
                    <a:pt x="180470" y="43405"/>
                    <a:pt x="188128" y="66465"/>
                    <a:pt x="188128" y="98088"/>
                  </a:cubicBezTo>
                  <a:lnTo>
                    <a:pt x="188128" y="176917"/>
                  </a:lnTo>
                  <a:cubicBezTo>
                    <a:pt x="188128" y="196205"/>
                    <a:pt x="194215" y="209074"/>
                    <a:pt x="206397" y="215513"/>
                  </a:cubicBezTo>
                  <a:lnTo>
                    <a:pt x="206397" y="235010"/>
                  </a:lnTo>
                  <a:cubicBezTo>
                    <a:pt x="189576" y="235010"/>
                    <a:pt x="176994" y="232762"/>
                    <a:pt x="168659" y="228238"/>
                  </a:cubicBezTo>
                  <a:cubicBezTo>
                    <a:pt x="160315" y="223742"/>
                    <a:pt x="154334" y="216275"/>
                    <a:pt x="150705" y="205873"/>
                  </a:cubicBezTo>
                  <a:close/>
                  <a:moveTo>
                    <a:pt x="146790" y="123149"/>
                  </a:moveTo>
                  <a:cubicBezTo>
                    <a:pt x="133741" y="120406"/>
                    <a:pt x="124596" y="119034"/>
                    <a:pt x="119386" y="119034"/>
                  </a:cubicBezTo>
                  <a:cubicBezTo>
                    <a:pt x="98508" y="119034"/>
                    <a:pt x="81458" y="124101"/>
                    <a:pt x="68266" y="134226"/>
                  </a:cubicBezTo>
                  <a:cubicBezTo>
                    <a:pt x="55074" y="144351"/>
                    <a:pt x="48473" y="156334"/>
                    <a:pt x="48473" y="170145"/>
                  </a:cubicBezTo>
                  <a:cubicBezTo>
                    <a:pt x="48473" y="193005"/>
                    <a:pt x="62760" y="204435"/>
                    <a:pt x="91326" y="204435"/>
                  </a:cubicBezTo>
                  <a:cubicBezTo>
                    <a:pt x="112204" y="204435"/>
                    <a:pt x="130702" y="195063"/>
                    <a:pt x="146799" y="176317"/>
                  </a:cubicBezTo>
                  <a:lnTo>
                    <a:pt x="146799" y="123149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8" name="Forme libre : forme 117">
              <a:extLst>
                <a:ext uri="{FF2B5EF4-FFF2-40B4-BE49-F238E27FC236}">
                  <a16:creationId xmlns:a16="http://schemas.microsoft.com/office/drawing/2014/main" id="{970D16EF-D9B4-4D88-A6E8-4CEBB659FF08}"/>
                </a:ext>
              </a:extLst>
            </p:cNvPr>
            <p:cNvSpPr/>
            <p:nvPr/>
          </p:nvSpPr>
          <p:spPr>
            <a:xfrm>
              <a:off x="3206003" y="3117968"/>
              <a:ext cx="161925" cy="295275"/>
            </a:xfrm>
            <a:custGeom>
              <a:avLst/>
              <a:gdLst>
                <a:gd name="connsiteX0" fmla="*/ 34119 w 161925"/>
                <a:gd name="connsiteY0" fmla="*/ 98898 h 295275"/>
                <a:gd name="connsiteX1" fmla="*/ 7144 w 161925"/>
                <a:gd name="connsiteY1" fmla="*/ 98898 h 295275"/>
                <a:gd name="connsiteX2" fmla="*/ 7144 w 161925"/>
                <a:gd name="connsiteY2" fmla="*/ 68113 h 295275"/>
                <a:gd name="connsiteX3" fmla="*/ 34119 w 161925"/>
                <a:gd name="connsiteY3" fmla="*/ 68113 h 295275"/>
                <a:gd name="connsiteX4" fmla="*/ 34119 w 161925"/>
                <a:gd name="connsiteY4" fmla="*/ 22127 h 295275"/>
                <a:gd name="connsiteX5" fmla="*/ 75448 w 161925"/>
                <a:gd name="connsiteY5" fmla="*/ 7144 h 295275"/>
                <a:gd name="connsiteX6" fmla="*/ 75448 w 161925"/>
                <a:gd name="connsiteY6" fmla="*/ 68113 h 295275"/>
                <a:gd name="connsiteX7" fmla="*/ 139398 w 161925"/>
                <a:gd name="connsiteY7" fmla="*/ 68113 h 295275"/>
                <a:gd name="connsiteX8" fmla="*/ 139398 w 161925"/>
                <a:gd name="connsiteY8" fmla="*/ 98898 h 295275"/>
                <a:gd name="connsiteX9" fmla="*/ 75448 w 161925"/>
                <a:gd name="connsiteY9" fmla="*/ 98898 h 295275"/>
                <a:gd name="connsiteX10" fmla="*/ 75448 w 161925"/>
                <a:gd name="connsiteY10" fmla="*/ 208112 h 295275"/>
                <a:gd name="connsiteX11" fmla="*/ 85344 w 161925"/>
                <a:gd name="connsiteY11" fmla="*/ 247526 h 295275"/>
                <a:gd name="connsiteX12" fmla="*/ 117215 w 161925"/>
                <a:gd name="connsiteY12" fmla="*/ 259232 h 295275"/>
                <a:gd name="connsiteX13" fmla="*/ 150066 w 161925"/>
                <a:gd name="connsiteY13" fmla="*/ 251641 h 295275"/>
                <a:gd name="connsiteX14" fmla="*/ 156153 w 161925"/>
                <a:gd name="connsiteY14" fmla="*/ 285922 h 295275"/>
                <a:gd name="connsiteX15" fmla="*/ 99813 w 161925"/>
                <a:gd name="connsiteY15" fmla="*/ 292075 h 295275"/>
                <a:gd name="connsiteX16" fmla="*/ 53150 w 161925"/>
                <a:gd name="connsiteY16" fmla="*/ 272682 h 295275"/>
                <a:gd name="connsiteX17" fmla="*/ 34119 w 161925"/>
                <a:gd name="connsiteY17" fmla="*/ 223714 h 295275"/>
                <a:gd name="connsiteX18" fmla="*/ 34119 w 161925"/>
                <a:gd name="connsiteY18" fmla="*/ 9889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295275">
                  <a:moveTo>
                    <a:pt x="34119" y="98898"/>
                  </a:moveTo>
                  <a:lnTo>
                    <a:pt x="7144" y="98898"/>
                  </a:lnTo>
                  <a:lnTo>
                    <a:pt x="7144" y="68113"/>
                  </a:lnTo>
                  <a:lnTo>
                    <a:pt x="34119" y="68113"/>
                  </a:lnTo>
                  <a:lnTo>
                    <a:pt x="34119" y="22127"/>
                  </a:lnTo>
                  <a:lnTo>
                    <a:pt x="75448" y="7144"/>
                  </a:lnTo>
                  <a:lnTo>
                    <a:pt x="75448" y="68113"/>
                  </a:lnTo>
                  <a:lnTo>
                    <a:pt x="139398" y="68113"/>
                  </a:lnTo>
                  <a:lnTo>
                    <a:pt x="139398" y="98898"/>
                  </a:lnTo>
                  <a:lnTo>
                    <a:pt x="75448" y="98898"/>
                  </a:lnTo>
                  <a:lnTo>
                    <a:pt x="75448" y="208112"/>
                  </a:lnTo>
                  <a:cubicBezTo>
                    <a:pt x="75448" y="226581"/>
                    <a:pt x="78743" y="239725"/>
                    <a:pt x="85344" y="247526"/>
                  </a:cubicBezTo>
                  <a:cubicBezTo>
                    <a:pt x="91945" y="255327"/>
                    <a:pt x="102565" y="259232"/>
                    <a:pt x="117215" y="259232"/>
                  </a:cubicBezTo>
                  <a:cubicBezTo>
                    <a:pt x="127797" y="259232"/>
                    <a:pt x="138751" y="256699"/>
                    <a:pt x="150066" y="251641"/>
                  </a:cubicBezTo>
                  <a:lnTo>
                    <a:pt x="156153" y="285922"/>
                  </a:lnTo>
                  <a:cubicBezTo>
                    <a:pt x="139046" y="290036"/>
                    <a:pt x="120263" y="292075"/>
                    <a:pt x="99813" y="292075"/>
                  </a:cubicBezTo>
                  <a:cubicBezTo>
                    <a:pt x="81391" y="292075"/>
                    <a:pt x="65837" y="285607"/>
                    <a:pt x="53150" y="272682"/>
                  </a:cubicBezTo>
                  <a:cubicBezTo>
                    <a:pt x="40453" y="259747"/>
                    <a:pt x="34119" y="243430"/>
                    <a:pt x="34119" y="223714"/>
                  </a:cubicBezTo>
                  <a:lnTo>
                    <a:pt x="34119" y="98898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9" name="Forme libre : forme 118">
              <a:extLst>
                <a:ext uri="{FF2B5EF4-FFF2-40B4-BE49-F238E27FC236}">
                  <a16:creationId xmlns:a16="http://schemas.microsoft.com/office/drawing/2014/main" id="{0088C9EB-9E6B-416E-ABFF-62BA6C295208}"/>
                </a:ext>
              </a:extLst>
            </p:cNvPr>
            <p:cNvSpPr/>
            <p:nvPr/>
          </p:nvSpPr>
          <p:spPr>
            <a:xfrm>
              <a:off x="3382273" y="3174823"/>
              <a:ext cx="228600" cy="238125"/>
            </a:xfrm>
            <a:custGeom>
              <a:avLst/>
              <a:gdLst>
                <a:gd name="connsiteX0" fmla="*/ 218570 w 228600"/>
                <a:gd name="connsiteY0" fmla="*/ 124977 h 238125"/>
                <a:gd name="connsiteX1" fmla="*/ 50635 w 228600"/>
                <a:gd name="connsiteY1" fmla="*/ 124977 h 238125"/>
                <a:gd name="connsiteX2" fmla="*/ 73047 w 228600"/>
                <a:gd name="connsiteY2" fmla="*/ 184309 h 238125"/>
                <a:gd name="connsiteX3" fmla="*/ 123949 w 228600"/>
                <a:gd name="connsiteY3" fmla="*/ 202368 h 238125"/>
                <a:gd name="connsiteX4" fmla="*/ 183118 w 228600"/>
                <a:gd name="connsiteY4" fmla="*/ 182870 h 238125"/>
                <a:gd name="connsiteX5" fmla="*/ 200520 w 228600"/>
                <a:gd name="connsiteY5" fmla="*/ 210988 h 238125"/>
                <a:gd name="connsiteX6" fmla="*/ 171155 w 228600"/>
                <a:gd name="connsiteY6" fmla="*/ 226590 h 238125"/>
                <a:gd name="connsiteX7" fmla="*/ 115900 w 228600"/>
                <a:gd name="connsiteY7" fmla="*/ 235210 h 238125"/>
                <a:gd name="connsiteX8" fmla="*/ 41291 w 228600"/>
                <a:gd name="connsiteY8" fmla="*/ 207092 h 238125"/>
                <a:gd name="connsiteX9" fmla="*/ 7144 w 228600"/>
                <a:gd name="connsiteY9" fmla="*/ 123749 h 238125"/>
                <a:gd name="connsiteX10" fmla="*/ 42167 w 228600"/>
                <a:gd name="connsiteY10" fmla="*/ 36500 h 238125"/>
                <a:gd name="connsiteX11" fmla="*/ 116348 w 228600"/>
                <a:gd name="connsiteY11" fmla="*/ 7144 h 238125"/>
                <a:gd name="connsiteX12" fmla="*/ 194443 w 228600"/>
                <a:gd name="connsiteY12" fmla="*/ 33623 h 238125"/>
                <a:gd name="connsiteX13" fmla="*/ 221856 w 228600"/>
                <a:gd name="connsiteY13" fmla="*/ 101165 h 238125"/>
                <a:gd name="connsiteX14" fmla="*/ 218570 w 228600"/>
                <a:gd name="connsiteY14" fmla="*/ 124977 h 238125"/>
                <a:gd name="connsiteX15" fmla="*/ 118281 w 228600"/>
                <a:gd name="connsiteY15" fmla="*/ 39995 h 238125"/>
                <a:gd name="connsiteX16" fmla="*/ 71952 w 228600"/>
                <a:gd name="connsiteY16" fmla="*/ 56826 h 238125"/>
                <a:gd name="connsiteX17" fmla="*/ 51721 w 228600"/>
                <a:gd name="connsiteY17" fmla="*/ 96660 h 238125"/>
                <a:gd name="connsiteX18" fmla="*/ 180718 w 228600"/>
                <a:gd name="connsiteY18" fmla="*/ 96660 h 238125"/>
                <a:gd name="connsiteX19" fmla="*/ 165049 w 228600"/>
                <a:gd name="connsiteY19" fmla="*/ 57236 h 238125"/>
                <a:gd name="connsiteX20" fmla="*/ 118281 w 228600"/>
                <a:gd name="connsiteY20" fmla="*/ 3999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8600" h="238125">
                  <a:moveTo>
                    <a:pt x="218570" y="124977"/>
                  </a:moveTo>
                  <a:lnTo>
                    <a:pt x="50635" y="124977"/>
                  </a:lnTo>
                  <a:cubicBezTo>
                    <a:pt x="50635" y="150704"/>
                    <a:pt x="58102" y="170478"/>
                    <a:pt x="73047" y="184309"/>
                  </a:cubicBezTo>
                  <a:cubicBezTo>
                    <a:pt x="86239" y="196358"/>
                    <a:pt x="103213" y="202368"/>
                    <a:pt x="123949" y="202368"/>
                  </a:cubicBezTo>
                  <a:cubicBezTo>
                    <a:pt x="147580" y="202368"/>
                    <a:pt x="167307" y="195872"/>
                    <a:pt x="183118" y="182870"/>
                  </a:cubicBezTo>
                  <a:lnTo>
                    <a:pt x="200520" y="210988"/>
                  </a:lnTo>
                  <a:cubicBezTo>
                    <a:pt x="194139" y="217018"/>
                    <a:pt x="184347" y="222218"/>
                    <a:pt x="171155" y="226590"/>
                  </a:cubicBezTo>
                  <a:cubicBezTo>
                    <a:pt x="154619" y="232343"/>
                    <a:pt x="136208" y="235210"/>
                    <a:pt x="115900" y="235210"/>
                  </a:cubicBezTo>
                  <a:cubicBezTo>
                    <a:pt x="86601" y="235210"/>
                    <a:pt x="61732" y="225847"/>
                    <a:pt x="41291" y="207092"/>
                  </a:cubicBezTo>
                  <a:cubicBezTo>
                    <a:pt x="18526" y="186423"/>
                    <a:pt x="7144" y="158648"/>
                    <a:pt x="7144" y="123749"/>
                  </a:cubicBezTo>
                  <a:cubicBezTo>
                    <a:pt x="7144" y="87478"/>
                    <a:pt x="18821" y="58398"/>
                    <a:pt x="42167" y="36500"/>
                  </a:cubicBezTo>
                  <a:cubicBezTo>
                    <a:pt x="63046" y="16935"/>
                    <a:pt x="87773" y="7144"/>
                    <a:pt x="116348" y="7144"/>
                  </a:cubicBezTo>
                  <a:cubicBezTo>
                    <a:pt x="149552" y="7144"/>
                    <a:pt x="175593" y="15973"/>
                    <a:pt x="194443" y="33623"/>
                  </a:cubicBezTo>
                  <a:cubicBezTo>
                    <a:pt x="212712" y="50597"/>
                    <a:pt x="221856" y="73114"/>
                    <a:pt x="221856" y="101165"/>
                  </a:cubicBezTo>
                  <a:cubicBezTo>
                    <a:pt x="221828" y="109795"/>
                    <a:pt x="220742" y="117738"/>
                    <a:pt x="218570" y="124977"/>
                  </a:cubicBezTo>
                  <a:close/>
                  <a:moveTo>
                    <a:pt x="118281" y="39995"/>
                  </a:moveTo>
                  <a:cubicBezTo>
                    <a:pt x="99860" y="39995"/>
                    <a:pt x="84420" y="45606"/>
                    <a:pt x="71952" y="56826"/>
                  </a:cubicBezTo>
                  <a:cubicBezTo>
                    <a:pt x="60055" y="67504"/>
                    <a:pt x="53311" y="80781"/>
                    <a:pt x="51721" y="96660"/>
                  </a:cubicBezTo>
                  <a:lnTo>
                    <a:pt x="180718" y="96660"/>
                  </a:lnTo>
                  <a:cubicBezTo>
                    <a:pt x="180718" y="80924"/>
                    <a:pt x="175498" y="67780"/>
                    <a:pt x="165049" y="57236"/>
                  </a:cubicBezTo>
                  <a:cubicBezTo>
                    <a:pt x="153600" y="45739"/>
                    <a:pt x="138008" y="39995"/>
                    <a:pt x="118281" y="39995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0" name="Forme libre : forme 119">
              <a:extLst>
                <a:ext uri="{FF2B5EF4-FFF2-40B4-BE49-F238E27FC236}">
                  <a16:creationId xmlns:a16="http://schemas.microsoft.com/office/drawing/2014/main" id="{CE3C6A7F-D624-4C99-B527-CEE05BB1F729}"/>
                </a:ext>
              </a:extLst>
            </p:cNvPr>
            <p:cNvSpPr/>
            <p:nvPr/>
          </p:nvSpPr>
          <p:spPr>
            <a:xfrm>
              <a:off x="3631171" y="3164774"/>
              <a:ext cx="200025" cy="333375"/>
            </a:xfrm>
            <a:custGeom>
              <a:avLst/>
              <a:gdLst>
                <a:gd name="connsiteX0" fmla="*/ 10620 w 200025"/>
                <a:gd name="connsiteY0" fmla="*/ 301304 h 333375"/>
                <a:gd name="connsiteX1" fmla="*/ 33033 w 200025"/>
                <a:gd name="connsiteY1" fmla="*/ 270110 h 333375"/>
                <a:gd name="connsiteX2" fmla="*/ 99593 w 200025"/>
                <a:gd name="connsiteY2" fmla="*/ 292894 h 333375"/>
                <a:gd name="connsiteX3" fmla="*/ 143856 w 200025"/>
                <a:gd name="connsiteY3" fmla="*/ 283759 h 333375"/>
                <a:gd name="connsiteX4" fmla="*/ 160058 w 200025"/>
                <a:gd name="connsiteY4" fmla="*/ 261080 h 333375"/>
                <a:gd name="connsiteX5" fmla="*/ 119167 w 200025"/>
                <a:gd name="connsiteY5" fmla="*/ 234391 h 333375"/>
                <a:gd name="connsiteX6" fmla="*/ 93936 w 200025"/>
                <a:gd name="connsiteY6" fmla="*/ 237677 h 333375"/>
                <a:gd name="connsiteX7" fmla="*/ 65437 w 200025"/>
                <a:gd name="connsiteY7" fmla="*/ 240963 h 333375"/>
                <a:gd name="connsiteX8" fmla="*/ 15840 w 200025"/>
                <a:gd name="connsiteY8" fmla="*/ 205654 h 333375"/>
                <a:gd name="connsiteX9" fmla="*/ 27480 w 200025"/>
                <a:gd name="connsiteY9" fmla="*/ 185947 h 333375"/>
                <a:gd name="connsiteX10" fmla="*/ 56302 w 200025"/>
                <a:gd name="connsiteY10" fmla="*/ 173222 h 333375"/>
                <a:gd name="connsiteX11" fmla="*/ 7144 w 200025"/>
                <a:gd name="connsiteY11" fmla="*/ 97679 h 333375"/>
                <a:gd name="connsiteX12" fmla="*/ 32595 w 200025"/>
                <a:gd name="connsiteY12" fmla="*/ 40196 h 333375"/>
                <a:gd name="connsiteX13" fmla="*/ 95460 w 200025"/>
                <a:gd name="connsiteY13" fmla="*/ 17202 h 333375"/>
                <a:gd name="connsiteX14" fmla="*/ 149190 w 200025"/>
                <a:gd name="connsiteY14" fmla="*/ 30547 h 333375"/>
                <a:gd name="connsiteX15" fmla="*/ 169859 w 200025"/>
                <a:gd name="connsiteY15" fmla="*/ 7144 h 333375"/>
                <a:gd name="connsiteX16" fmla="*/ 196834 w 200025"/>
                <a:gd name="connsiteY16" fmla="*/ 31156 h 333375"/>
                <a:gd name="connsiteX17" fmla="*/ 172031 w 200025"/>
                <a:gd name="connsiteY17" fmla="*/ 48816 h 333375"/>
                <a:gd name="connsiteX18" fmla="*/ 187909 w 200025"/>
                <a:gd name="connsiteY18" fmla="*/ 99727 h 333375"/>
                <a:gd name="connsiteX19" fmla="*/ 165935 w 200025"/>
                <a:gd name="connsiteY19" fmla="*/ 155562 h 333375"/>
                <a:gd name="connsiteX20" fmla="*/ 108290 w 200025"/>
                <a:gd name="connsiteY20" fmla="*/ 181432 h 333375"/>
                <a:gd name="connsiteX21" fmla="*/ 74143 w 200025"/>
                <a:gd name="connsiteY21" fmla="*/ 184718 h 333375"/>
                <a:gd name="connsiteX22" fmla="*/ 57826 w 200025"/>
                <a:gd name="connsiteY22" fmla="*/ 189128 h 333375"/>
                <a:gd name="connsiteX23" fmla="*/ 47606 w 200025"/>
                <a:gd name="connsiteY23" fmla="*/ 199092 h 333375"/>
                <a:gd name="connsiteX24" fmla="*/ 68923 w 200025"/>
                <a:gd name="connsiteY24" fmla="*/ 207512 h 333375"/>
                <a:gd name="connsiteX25" fmla="*/ 98069 w 200025"/>
                <a:gd name="connsiteY25" fmla="*/ 204330 h 333375"/>
                <a:gd name="connsiteX26" fmla="*/ 127435 w 200025"/>
                <a:gd name="connsiteY26" fmla="*/ 201139 h 333375"/>
                <a:gd name="connsiteX27" fmla="*/ 181051 w 200025"/>
                <a:gd name="connsiteY27" fmla="*/ 216646 h 333375"/>
                <a:gd name="connsiteX28" fmla="*/ 200301 w 200025"/>
                <a:gd name="connsiteY28" fmla="*/ 259651 h 333375"/>
                <a:gd name="connsiteX29" fmla="*/ 171479 w 200025"/>
                <a:gd name="connsiteY29" fmla="*/ 308715 h 333375"/>
                <a:gd name="connsiteX30" fmla="*/ 98498 w 200025"/>
                <a:gd name="connsiteY30" fmla="*/ 327393 h 333375"/>
                <a:gd name="connsiteX31" fmla="*/ 50863 w 200025"/>
                <a:gd name="connsiteY31" fmla="*/ 319802 h 333375"/>
                <a:gd name="connsiteX32" fmla="*/ 10620 w 200025"/>
                <a:gd name="connsiteY32" fmla="*/ 301304 h 333375"/>
                <a:gd name="connsiteX33" fmla="*/ 98288 w 200025"/>
                <a:gd name="connsiteY33" fmla="*/ 48606 h 333375"/>
                <a:gd name="connsiteX34" fmla="*/ 63160 w 200025"/>
                <a:gd name="connsiteY34" fmla="*/ 62979 h 333375"/>
                <a:gd name="connsiteX35" fmla="*/ 49568 w 200025"/>
                <a:gd name="connsiteY35" fmla="*/ 97879 h 333375"/>
                <a:gd name="connsiteX36" fmla="*/ 62732 w 200025"/>
                <a:gd name="connsiteY36" fmla="*/ 135950 h 333375"/>
                <a:gd name="connsiteX37" fmla="*/ 98298 w 200025"/>
                <a:gd name="connsiteY37" fmla="*/ 151047 h 333375"/>
                <a:gd name="connsiteX38" fmla="*/ 132664 w 200025"/>
                <a:gd name="connsiteY38" fmla="*/ 136369 h 333375"/>
                <a:gd name="connsiteX39" fmla="*/ 145066 w 200025"/>
                <a:gd name="connsiteY39" fmla="*/ 97879 h 333375"/>
                <a:gd name="connsiteX40" fmla="*/ 131683 w 200025"/>
                <a:gd name="connsiteY40" fmla="*/ 62979 h 333375"/>
                <a:gd name="connsiteX41" fmla="*/ 98288 w 200025"/>
                <a:gd name="connsiteY41" fmla="*/ 48606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00025" h="333375">
                  <a:moveTo>
                    <a:pt x="10620" y="301304"/>
                  </a:moveTo>
                  <a:lnTo>
                    <a:pt x="33033" y="270110"/>
                  </a:lnTo>
                  <a:cubicBezTo>
                    <a:pt x="57102" y="285302"/>
                    <a:pt x="79286" y="292894"/>
                    <a:pt x="99593" y="292894"/>
                  </a:cubicBezTo>
                  <a:cubicBezTo>
                    <a:pt x="118300" y="292894"/>
                    <a:pt x="133055" y="289855"/>
                    <a:pt x="143856" y="283759"/>
                  </a:cubicBezTo>
                  <a:cubicBezTo>
                    <a:pt x="154657" y="277673"/>
                    <a:pt x="160058" y="270110"/>
                    <a:pt x="160058" y="261080"/>
                  </a:cubicBezTo>
                  <a:cubicBezTo>
                    <a:pt x="160058" y="243288"/>
                    <a:pt x="146428" y="234391"/>
                    <a:pt x="119167" y="234391"/>
                  </a:cubicBezTo>
                  <a:cubicBezTo>
                    <a:pt x="114529" y="234391"/>
                    <a:pt x="106118" y="235487"/>
                    <a:pt x="93936" y="237677"/>
                  </a:cubicBezTo>
                  <a:cubicBezTo>
                    <a:pt x="81753" y="239859"/>
                    <a:pt x="72257" y="240963"/>
                    <a:pt x="65437" y="240963"/>
                  </a:cubicBezTo>
                  <a:cubicBezTo>
                    <a:pt x="32375" y="240963"/>
                    <a:pt x="15840" y="229200"/>
                    <a:pt x="15840" y="205654"/>
                  </a:cubicBezTo>
                  <a:cubicBezTo>
                    <a:pt x="15840" y="198396"/>
                    <a:pt x="19717" y="191834"/>
                    <a:pt x="27480" y="185947"/>
                  </a:cubicBezTo>
                  <a:cubicBezTo>
                    <a:pt x="35233" y="180070"/>
                    <a:pt x="44844" y="175822"/>
                    <a:pt x="56302" y="173222"/>
                  </a:cubicBezTo>
                  <a:cubicBezTo>
                    <a:pt x="23527" y="158725"/>
                    <a:pt x="7144" y="133531"/>
                    <a:pt x="7144" y="97679"/>
                  </a:cubicBezTo>
                  <a:cubicBezTo>
                    <a:pt x="7144" y="74686"/>
                    <a:pt x="15631" y="55521"/>
                    <a:pt x="32595" y="40196"/>
                  </a:cubicBezTo>
                  <a:cubicBezTo>
                    <a:pt x="49559" y="24879"/>
                    <a:pt x="70514" y="17202"/>
                    <a:pt x="95460" y="17202"/>
                  </a:cubicBezTo>
                  <a:cubicBezTo>
                    <a:pt x="118367" y="17202"/>
                    <a:pt x="136284" y="21660"/>
                    <a:pt x="149190" y="30547"/>
                  </a:cubicBezTo>
                  <a:lnTo>
                    <a:pt x="169859" y="7144"/>
                  </a:lnTo>
                  <a:lnTo>
                    <a:pt x="196834" y="31156"/>
                  </a:lnTo>
                  <a:lnTo>
                    <a:pt x="172031" y="48816"/>
                  </a:lnTo>
                  <a:cubicBezTo>
                    <a:pt x="182613" y="61817"/>
                    <a:pt x="187909" y="78781"/>
                    <a:pt x="187909" y="99727"/>
                  </a:cubicBezTo>
                  <a:cubicBezTo>
                    <a:pt x="187909" y="121901"/>
                    <a:pt x="180584" y="140513"/>
                    <a:pt x="165935" y="155562"/>
                  </a:cubicBezTo>
                  <a:cubicBezTo>
                    <a:pt x="151286" y="170621"/>
                    <a:pt x="132074" y="179242"/>
                    <a:pt x="108290" y="181432"/>
                  </a:cubicBezTo>
                  <a:lnTo>
                    <a:pt x="74143" y="184718"/>
                  </a:lnTo>
                  <a:cubicBezTo>
                    <a:pt x="70085" y="185128"/>
                    <a:pt x="64646" y="186595"/>
                    <a:pt x="57826" y="189128"/>
                  </a:cubicBezTo>
                  <a:cubicBezTo>
                    <a:pt x="51006" y="191672"/>
                    <a:pt x="47606" y="194977"/>
                    <a:pt x="47606" y="199092"/>
                  </a:cubicBezTo>
                  <a:cubicBezTo>
                    <a:pt x="47606" y="204702"/>
                    <a:pt x="54712" y="207512"/>
                    <a:pt x="68923" y="207512"/>
                  </a:cubicBezTo>
                  <a:cubicBezTo>
                    <a:pt x="75152" y="207512"/>
                    <a:pt x="84868" y="206454"/>
                    <a:pt x="98069" y="204330"/>
                  </a:cubicBezTo>
                  <a:cubicBezTo>
                    <a:pt x="111262" y="202206"/>
                    <a:pt x="121053" y="201139"/>
                    <a:pt x="127435" y="201139"/>
                  </a:cubicBezTo>
                  <a:cubicBezTo>
                    <a:pt x="150352" y="201139"/>
                    <a:pt x="168221" y="206312"/>
                    <a:pt x="181051" y="216646"/>
                  </a:cubicBezTo>
                  <a:cubicBezTo>
                    <a:pt x="193891" y="226981"/>
                    <a:pt x="200301" y="241306"/>
                    <a:pt x="200301" y="259651"/>
                  </a:cubicBezTo>
                  <a:cubicBezTo>
                    <a:pt x="200301" y="279911"/>
                    <a:pt x="190691" y="296266"/>
                    <a:pt x="171479" y="308715"/>
                  </a:cubicBezTo>
                  <a:cubicBezTo>
                    <a:pt x="152257" y="321164"/>
                    <a:pt x="127930" y="327393"/>
                    <a:pt x="98498" y="327393"/>
                  </a:cubicBezTo>
                  <a:cubicBezTo>
                    <a:pt x="83410" y="327393"/>
                    <a:pt x="67532" y="324860"/>
                    <a:pt x="50863" y="319802"/>
                  </a:cubicBezTo>
                  <a:cubicBezTo>
                    <a:pt x="34195" y="314725"/>
                    <a:pt x="20774" y="308562"/>
                    <a:pt x="10620" y="301304"/>
                  </a:cubicBezTo>
                  <a:close/>
                  <a:moveTo>
                    <a:pt x="98288" y="48606"/>
                  </a:moveTo>
                  <a:cubicBezTo>
                    <a:pt x="83934" y="48606"/>
                    <a:pt x="72219" y="53397"/>
                    <a:pt x="63160" y="62979"/>
                  </a:cubicBezTo>
                  <a:cubicBezTo>
                    <a:pt x="54102" y="72561"/>
                    <a:pt x="49568" y="84201"/>
                    <a:pt x="49568" y="97879"/>
                  </a:cubicBezTo>
                  <a:cubicBezTo>
                    <a:pt x="49568" y="113205"/>
                    <a:pt x="53950" y="125892"/>
                    <a:pt x="62732" y="135950"/>
                  </a:cubicBezTo>
                  <a:cubicBezTo>
                    <a:pt x="71504" y="146018"/>
                    <a:pt x="83363" y="151047"/>
                    <a:pt x="98298" y="151047"/>
                  </a:cubicBezTo>
                  <a:cubicBezTo>
                    <a:pt x="112947" y="151047"/>
                    <a:pt x="124406" y="146152"/>
                    <a:pt x="132664" y="136369"/>
                  </a:cubicBezTo>
                  <a:cubicBezTo>
                    <a:pt x="140922" y="126587"/>
                    <a:pt x="145066" y="113757"/>
                    <a:pt x="145066" y="97879"/>
                  </a:cubicBezTo>
                  <a:cubicBezTo>
                    <a:pt x="145066" y="84192"/>
                    <a:pt x="140608" y="72561"/>
                    <a:pt x="131683" y="62979"/>
                  </a:cubicBezTo>
                  <a:cubicBezTo>
                    <a:pt x="122758" y="53397"/>
                    <a:pt x="111624" y="48606"/>
                    <a:pt x="98288" y="48606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1" name="Forme libre : forme 120">
              <a:extLst>
                <a:ext uri="{FF2B5EF4-FFF2-40B4-BE49-F238E27FC236}">
                  <a16:creationId xmlns:a16="http://schemas.microsoft.com/office/drawing/2014/main" id="{1E14469A-0A42-473C-A845-2C5060E8893E}"/>
                </a:ext>
              </a:extLst>
            </p:cNvPr>
            <p:cNvSpPr/>
            <p:nvPr/>
          </p:nvSpPr>
          <p:spPr>
            <a:xfrm>
              <a:off x="3842673" y="3178937"/>
              <a:ext cx="228600" cy="314325"/>
            </a:xfrm>
            <a:custGeom>
              <a:avLst/>
              <a:gdLst>
                <a:gd name="connsiteX0" fmla="*/ 122872 w 228600"/>
                <a:gd name="connsiteY0" fmla="*/ 264366 h 314325"/>
                <a:gd name="connsiteX1" fmla="*/ 89049 w 228600"/>
                <a:gd name="connsiteY1" fmla="*/ 299256 h 314325"/>
                <a:gd name="connsiteX2" fmla="*/ 31509 w 228600"/>
                <a:gd name="connsiteY2" fmla="*/ 313220 h 314325"/>
                <a:gd name="connsiteX3" fmla="*/ 31509 w 228600"/>
                <a:gd name="connsiteY3" fmla="*/ 278321 h 314325"/>
                <a:gd name="connsiteX4" fmla="*/ 75886 w 228600"/>
                <a:gd name="connsiteY4" fmla="*/ 266929 h 314325"/>
                <a:gd name="connsiteX5" fmla="*/ 94374 w 228600"/>
                <a:gd name="connsiteY5" fmla="*/ 239116 h 314325"/>
                <a:gd name="connsiteX6" fmla="*/ 87630 w 228600"/>
                <a:gd name="connsiteY6" fmla="*/ 203502 h 314325"/>
                <a:gd name="connsiteX7" fmla="*/ 70228 w 228600"/>
                <a:gd name="connsiteY7" fmla="*/ 160077 h 314325"/>
                <a:gd name="connsiteX8" fmla="*/ 7144 w 228600"/>
                <a:gd name="connsiteY8" fmla="*/ 7144 h 314325"/>
                <a:gd name="connsiteX9" fmla="*/ 49349 w 228600"/>
                <a:gd name="connsiteY9" fmla="*/ 7144 h 314325"/>
                <a:gd name="connsiteX10" fmla="*/ 117872 w 228600"/>
                <a:gd name="connsiteY10" fmla="*/ 177117 h 314325"/>
                <a:gd name="connsiteX11" fmla="*/ 179432 w 228600"/>
                <a:gd name="connsiteY11" fmla="*/ 7144 h 314325"/>
                <a:gd name="connsiteX12" fmla="*/ 221637 w 228600"/>
                <a:gd name="connsiteY12" fmla="*/ 7144 h 314325"/>
                <a:gd name="connsiteX13" fmla="*/ 122872 w 228600"/>
                <a:gd name="connsiteY13" fmla="*/ 26436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0" h="314325">
                  <a:moveTo>
                    <a:pt x="122872" y="264366"/>
                  </a:moveTo>
                  <a:cubicBezTo>
                    <a:pt x="117510" y="278321"/>
                    <a:pt x="106232" y="289960"/>
                    <a:pt x="89049" y="299256"/>
                  </a:cubicBezTo>
                  <a:cubicBezTo>
                    <a:pt x="71866" y="308572"/>
                    <a:pt x="52683" y="313220"/>
                    <a:pt x="31509" y="313220"/>
                  </a:cubicBezTo>
                  <a:lnTo>
                    <a:pt x="31509" y="278321"/>
                  </a:lnTo>
                  <a:cubicBezTo>
                    <a:pt x="48768" y="278321"/>
                    <a:pt x="63551" y="274530"/>
                    <a:pt x="75886" y="266929"/>
                  </a:cubicBezTo>
                  <a:cubicBezTo>
                    <a:pt x="88211" y="259337"/>
                    <a:pt x="94374" y="250060"/>
                    <a:pt x="94374" y="239116"/>
                  </a:cubicBezTo>
                  <a:cubicBezTo>
                    <a:pt x="94374" y="227067"/>
                    <a:pt x="92126" y="215198"/>
                    <a:pt x="87630" y="203502"/>
                  </a:cubicBezTo>
                  <a:cubicBezTo>
                    <a:pt x="83134" y="191795"/>
                    <a:pt x="77324" y="177327"/>
                    <a:pt x="70228" y="160077"/>
                  </a:cubicBezTo>
                  <a:lnTo>
                    <a:pt x="7144" y="7144"/>
                  </a:lnTo>
                  <a:lnTo>
                    <a:pt x="49349" y="7144"/>
                  </a:lnTo>
                  <a:lnTo>
                    <a:pt x="117872" y="177117"/>
                  </a:lnTo>
                  <a:lnTo>
                    <a:pt x="179432" y="7144"/>
                  </a:lnTo>
                  <a:lnTo>
                    <a:pt x="221637" y="7144"/>
                  </a:lnTo>
                  <a:lnTo>
                    <a:pt x="122872" y="26436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2" name="Forme libre : forme 121">
              <a:extLst>
                <a:ext uri="{FF2B5EF4-FFF2-40B4-BE49-F238E27FC236}">
                  <a16:creationId xmlns:a16="http://schemas.microsoft.com/office/drawing/2014/main" id="{C9B6E955-AEBE-40D3-BC7E-79665DFC7F41}"/>
                </a:ext>
              </a:extLst>
            </p:cNvPr>
            <p:cNvSpPr/>
            <p:nvPr/>
          </p:nvSpPr>
          <p:spPr>
            <a:xfrm>
              <a:off x="4216730" y="3175851"/>
              <a:ext cx="209550" cy="238125"/>
            </a:xfrm>
            <a:custGeom>
              <a:avLst/>
              <a:gdLst>
                <a:gd name="connsiteX0" fmla="*/ 169859 w 209550"/>
                <a:gd name="connsiteY0" fmla="*/ 150228 h 238125"/>
                <a:gd name="connsiteX1" fmla="*/ 208359 w 209550"/>
                <a:gd name="connsiteY1" fmla="*/ 154953 h 238125"/>
                <a:gd name="connsiteX2" fmla="*/ 176051 w 209550"/>
                <a:gd name="connsiteY2" fmla="*/ 213760 h 238125"/>
                <a:gd name="connsiteX3" fmla="*/ 112204 w 209550"/>
                <a:gd name="connsiteY3" fmla="*/ 235010 h 238125"/>
                <a:gd name="connsiteX4" fmla="*/ 35966 w 209550"/>
                <a:gd name="connsiteY4" fmla="*/ 205759 h 238125"/>
                <a:gd name="connsiteX5" fmla="*/ 7144 w 209550"/>
                <a:gd name="connsiteY5" fmla="*/ 121892 h 238125"/>
                <a:gd name="connsiteX6" fmla="*/ 19545 w 209550"/>
                <a:gd name="connsiteY6" fmla="*/ 60112 h 238125"/>
                <a:gd name="connsiteX7" fmla="*/ 57283 w 209550"/>
                <a:gd name="connsiteY7" fmla="*/ 20383 h 238125"/>
                <a:gd name="connsiteX8" fmla="*/ 112424 w 209550"/>
                <a:gd name="connsiteY8" fmla="*/ 7144 h 238125"/>
                <a:gd name="connsiteX9" fmla="*/ 173984 w 209550"/>
                <a:gd name="connsiteY9" fmla="*/ 25108 h 238125"/>
                <a:gd name="connsiteX10" fmla="*/ 204654 w 209550"/>
                <a:gd name="connsiteY10" fmla="*/ 76114 h 238125"/>
                <a:gd name="connsiteX11" fmla="*/ 166583 w 209550"/>
                <a:gd name="connsiteY11" fmla="*/ 81658 h 238125"/>
                <a:gd name="connsiteX12" fmla="*/ 147333 w 209550"/>
                <a:gd name="connsiteY12" fmla="*/ 48606 h 238125"/>
                <a:gd name="connsiteX13" fmla="*/ 113938 w 209550"/>
                <a:gd name="connsiteY13" fmla="*/ 37519 h 238125"/>
                <a:gd name="connsiteX14" fmla="*/ 65865 w 209550"/>
                <a:gd name="connsiteY14" fmla="*/ 57541 h 238125"/>
                <a:gd name="connsiteX15" fmla="*/ 47377 w 209550"/>
                <a:gd name="connsiteY15" fmla="*/ 120863 h 238125"/>
                <a:gd name="connsiteX16" fmla="*/ 65218 w 209550"/>
                <a:gd name="connsiteY16" fmla="*/ 184709 h 238125"/>
                <a:gd name="connsiteX17" fmla="*/ 111766 w 209550"/>
                <a:gd name="connsiteY17" fmla="*/ 204616 h 238125"/>
                <a:gd name="connsiteX18" fmla="*/ 150266 w 209550"/>
                <a:gd name="connsiteY18" fmla="*/ 191281 h 238125"/>
                <a:gd name="connsiteX19" fmla="*/ 169859 w 209550"/>
                <a:gd name="connsiteY19" fmla="*/ 150228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9550" h="238125">
                  <a:moveTo>
                    <a:pt x="169859" y="150228"/>
                  </a:moveTo>
                  <a:lnTo>
                    <a:pt x="208359" y="154953"/>
                  </a:lnTo>
                  <a:cubicBezTo>
                    <a:pt x="204149" y="179994"/>
                    <a:pt x="193386" y="199606"/>
                    <a:pt x="176051" y="213760"/>
                  </a:cubicBezTo>
                  <a:cubicBezTo>
                    <a:pt x="158715" y="227924"/>
                    <a:pt x="137436" y="235010"/>
                    <a:pt x="112204" y="235010"/>
                  </a:cubicBezTo>
                  <a:cubicBezTo>
                    <a:pt x="80591" y="235010"/>
                    <a:pt x="55178" y="225257"/>
                    <a:pt x="35966" y="205759"/>
                  </a:cubicBezTo>
                  <a:cubicBezTo>
                    <a:pt x="16745" y="186252"/>
                    <a:pt x="7144" y="158306"/>
                    <a:pt x="7144" y="121892"/>
                  </a:cubicBezTo>
                  <a:cubicBezTo>
                    <a:pt x="7144" y="98355"/>
                    <a:pt x="11278" y="77762"/>
                    <a:pt x="19545" y="60112"/>
                  </a:cubicBezTo>
                  <a:cubicBezTo>
                    <a:pt x="27813" y="42453"/>
                    <a:pt x="40386" y="29213"/>
                    <a:pt x="57283" y="20383"/>
                  </a:cubicBezTo>
                  <a:cubicBezTo>
                    <a:pt x="74171" y="11554"/>
                    <a:pt x="92555" y="7144"/>
                    <a:pt x="112424" y="7144"/>
                  </a:cubicBezTo>
                  <a:cubicBezTo>
                    <a:pt x="137513" y="7144"/>
                    <a:pt x="158029" y="13135"/>
                    <a:pt x="173984" y="25108"/>
                  </a:cubicBezTo>
                  <a:cubicBezTo>
                    <a:pt x="189938" y="37081"/>
                    <a:pt x="200168" y="54083"/>
                    <a:pt x="204654" y="76114"/>
                  </a:cubicBezTo>
                  <a:lnTo>
                    <a:pt x="166583" y="81658"/>
                  </a:lnTo>
                  <a:cubicBezTo>
                    <a:pt x="162954" y="67018"/>
                    <a:pt x="156543" y="55998"/>
                    <a:pt x="147333" y="48606"/>
                  </a:cubicBezTo>
                  <a:cubicBezTo>
                    <a:pt x="138122" y="41215"/>
                    <a:pt x="126997" y="37519"/>
                    <a:pt x="113938" y="37519"/>
                  </a:cubicBezTo>
                  <a:cubicBezTo>
                    <a:pt x="94221" y="37519"/>
                    <a:pt x="78191" y="44187"/>
                    <a:pt x="65865" y="57541"/>
                  </a:cubicBezTo>
                  <a:cubicBezTo>
                    <a:pt x="53540" y="70876"/>
                    <a:pt x="47377" y="91992"/>
                    <a:pt x="47377" y="120863"/>
                  </a:cubicBezTo>
                  <a:cubicBezTo>
                    <a:pt x="47377" y="150152"/>
                    <a:pt x="53330" y="171441"/>
                    <a:pt x="65218" y="184709"/>
                  </a:cubicBezTo>
                  <a:cubicBezTo>
                    <a:pt x="77105" y="197987"/>
                    <a:pt x="92621" y="204616"/>
                    <a:pt x="111766" y="204616"/>
                  </a:cubicBezTo>
                  <a:cubicBezTo>
                    <a:pt x="127130" y="204616"/>
                    <a:pt x="139970" y="200168"/>
                    <a:pt x="150266" y="191281"/>
                  </a:cubicBezTo>
                  <a:cubicBezTo>
                    <a:pt x="160563" y="182394"/>
                    <a:pt x="167097" y="168707"/>
                    <a:pt x="169859" y="150228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3" name="Forme libre : forme 122">
              <a:extLst>
                <a:ext uri="{FF2B5EF4-FFF2-40B4-BE49-F238E27FC236}">
                  <a16:creationId xmlns:a16="http://schemas.microsoft.com/office/drawing/2014/main" id="{BAB780A6-E153-405F-B146-EAAECEFA6ADD}"/>
                </a:ext>
              </a:extLst>
            </p:cNvPr>
            <p:cNvSpPr/>
            <p:nvPr/>
          </p:nvSpPr>
          <p:spPr>
            <a:xfrm>
              <a:off x="4439539" y="3175861"/>
              <a:ext cx="228600" cy="238125"/>
            </a:xfrm>
            <a:custGeom>
              <a:avLst/>
              <a:gdLst>
                <a:gd name="connsiteX0" fmla="*/ 7144 w 228600"/>
                <a:gd name="connsiteY0" fmla="*/ 121072 h 238125"/>
                <a:gd name="connsiteX1" fmla="*/ 42815 w 228600"/>
                <a:gd name="connsiteY1" fmla="*/ 31366 h 238125"/>
                <a:gd name="connsiteX2" fmla="*/ 115472 w 228600"/>
                <a:gd name="connsiteY2" fmla="*/ 7144 h 238125"/>
                <a:gd name="connsiteX3" fmla="*/ 193348 w 228600"/>
                <a:gd name="connsiteY3" fmla="*/ 36605 h 238125"/>
                <a:gd name="connsiteX4" fmla="*/ 223590 w 228600"/>
                <a:gd name="connsiteY4" fmla="*/ 117996 h 238125"/>
                <a:gd name="connsiteX5" fmla="*/ 210217 w 228600"/>
                <a:gd name="connsiteY5" fmla="*/ 184204 h 238125"/>
                <a:gd name="connsiteX6" fmla="*/ 171279 w 228600"/>
                <a:gd name="connsiteY6" fmla="*/ 221666 h 238125"/>
                <a:gd name="connsiteX7" fmla="*/ 115481 w 228600"/>
                <a:gd name="connsiteY7" fmla="*/ 235010 h 238125"/>
                <a:gd name="connsiteX8" fmla="*/ 37071 w 228600"/>
                <a:gd name="connsiteY8" fmla="*/ 205654 h 238125"/>
                <a:gd name="connsiteX9" fmla="*/ 7144 w 228600"/>
                <a:gd name="connsiteY9" fmla="*/ 121072 h 238125"/>
                <a:gd name="connsiteX10" fmla="*/ 47387 w 228600"/>
                <a:gd name="connsiteY10" fmla="*/ 121072 h 238125"/>
                <a:gd name="connsiteX11" fmla="*/ 66742 w 228600"/>
                <a:gd name="connsiteY11" fmla="*/ 183785 h 238125"/>
                <a:gd name="connsiteX12" fmla="*/ 115462 w 228600"/>
                <a:gd name="connsiteY12" fmla="*/ 204626 h 238125"/>
                <a:gd name="connsiteX13" fmla="*/ 163973 w 228600"/>
                <a:gd name="connsiteY13" fmla="*/ 183690 h 238125"/>
                <a:gd name="connsiteX14" fmla="*/ 183337 w 228600"/>
                <a:gd name="connsiteY14" fmla="*/ 119853 h 238125"/>
                <a:gd name="connsiteX15" fmla="*/ 163868 w 228600"/>
                <a:gd name="connsiteY15" fmla="*/ 58569 h 238125"/>
                <a:gd name="connsiteX16" fmla="*/ 115462 w 228600"/>
                <a:gd name="connsiteY16" fmla="*/ 37729 h 238125"/>
                <a:gd name="connsiteX17" fmla="*/ 66742 w 228600"/>
                <a:gd name="connsiteY17" fmla="*/ 58464 h 238125"/>
                <a:gd name="connsiteX18" fmla="*/ 47387 w 228600"/>
                <a:gd name="connsiteY18" fmla="*/ 12107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8600" h="238125">
                  <a:moveTo>
                    <a:pt x="7144" y="121072"/>
                  </a:moveTo>
                  <a:cubicBezTo>
                    <a:pt x="7144" y="80705"/>
                    <a:pt x="19031" y="50797"/>
                    <a:pt x="42815" y="31366"/>
                  </a:cubicBezTo>
                  <a:cubicBezTo>
                    <a:pt x="62684" y="15221"/>
                    <a:pt x="86906" y="7144"/>
                    <a:pt x="115472" y="7144"/>
                  </a:cubicBezTo>
                  <a:cubicBezTo>
                    <a:pt x="147238" y="7144"/>
                    <a:pt x="173193" y="16964"/>
                    <a:pt x="193348" y="36605"/>
                  </a:cubicBezTo>
                  <a:cubicBezTo>
                    <a:pt x="213503" y="56245"/>
                    <a:pt x="223590" y="83372"/>
                    <a:pt x="223590" y="117996"/>
                  </a:cubicBezTo>
                  <a:cubicBezTo>
                    <a:pt x="223590" y="146047"/>
                    <a:pt x="219132" y="168126"/>
                    <a:pt x="210217" y="184204"/>
                  </a:cubicBezTo>
                  <a:cubicBezTo>
                    <a:pt x="201301" y="200282"/>
                    <a:pt x="188319" y="212769"/>
                    <a:pt x="171279" y="221666"/>
                  </a:cubicBezTo>
                  <a:cubicBezTo>
                    <a:pt x="154238" y="230562"/>
                    <a:pt x="135636" y="235010"/>
                    <a:pt x="115481" y="235010"/>
                  </a:cubicBezTo>
                  <a:cubicBezTo>
                    <a:pt x="83144" y="235010"/>
                    <a:pt x="56998" y="225228"/>
                    <a:pt x="37071" y="205654"/>
                  </a:cubicBezTo>
                  <a:cubicBezTo>
                    <a:pt x="17117" y="186080"/>
                    <a:pt x="7144" y="157886"/>
                    <a:pt x="7144" y="121072"/>
                  </a:cubicBezTo>
                  <a:close/>
                  <a:moveTo>
                    <a:pt x="47387" y="121072"/>
                  </a:moveTo>
                  <a:cubicBezTo>
                    <a:pt x="47387" y="149000"/>
                    <a:pt x="53835" y="169897"/>
                    <a:pt x="66742" y="183785"/>
                  </a:cubicBezTo>
                  <a:cubicBezTo>
                    <a:pt x="79639" y="197682"/>
                    <a:pt x="95898" y="204626"/>
                    <a:pt x="115462" y="204626"/>
                  </a:cubicBezTo>
                  <a:cubicBezTo>
                    <a:pt x="134893" y="204626"/>
                    <a:pt x="151067" y="197653"/>
                    <a:pt x="163973" y="183690"/>
                  </a:cubicBezTo>
                  <a:cubicBezTo>
                    <a:pt x="176879" y="169736"/>
                    <a:pt x="183337" y="148457"/>
                    <a:pt x="183337" y="119853"/>
                  </a:cubicBezTo>
                  <a:cubicBezTo>
                    <a:pt x="183337" y="92888"/>
                    <a:pt x="176841" y="72466"/>
                    <a:pt x="163868" y="58569"/>
                  </a:cubicBezTo>
                  <a:cubicBezTo>
                    <a:pt x="150886" y="44682"/>
                    <a:pt x="134750" y="37729"/>
                    <a:pt x="115462" y="37729"/>
                  </a:cubicBezTo>
                  <a:cubicBezTo>
                    <a:pt x="95888" y="37729"/>
                    <a:pt x="79639" y="44644"/>
                    <a:pt x="66742" y="58464"/>
                  </a:cubicBezTo>
                  <a:cubicBezTo>
                    <a:pt x="53835" y="72285"/>
                    <a:pt x="47387" y="93154"/>
                    <a:pt x="47387" y="12107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4" name="Forme libre : forme 123">
              <a:extLst>
                <a:ext uri="{FF2B5EF4-FFF2-40B4-BE49-F238E27FC236}">
                  <a16:creationId xmlns:a16="http://schemas.microsoft.com/office/drawing/2014/main" id="{E895FB20-8BC2-4C5C-B5A6-C7A07C810A25}"/>
                </a:ext>
              </a:extLst>
            </p:cNvPr>
            <p:cNvSpPr/>
            <p:nvPr/>
          </p:nvSpPr>
          <p:spPr>
            <a:xfrm>
              <a:off x="4704553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8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8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orme libre : forme 124">
              <a:extLst>
                <a:ext uri="{FF2B5EF4-FFF2-40B4-BE49-F238E27FC236}">
                  <a16:creationId xmlns:a16="http://schemas.microsoft.com/office/drawing/2014/main" id="{D6B50C9F-3324-45FF-A96B-80272E11D681}"/>
                </a:ext>
              </a:extLst>
            </p:cNvPr>
            <p:cNvSpPr/>
            <p:nvPr/>
          </p:nvSpPr>
          <p:spPr>
            <a:xfrm>
              <a:off x="4939325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9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9" y="80639"/>
                    <a:pt x="13669" y="69961"/>
                  </a:cubicBezTo>
                  <a:cubicBezTo>
                    <a:pt x="13669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3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orme libre : forme 125">
              <a:extLst>
                <a:ext uri="{FF2B5EF4-FFF2-40B4-BE49-F238E27FC236}">
                  <a16:creationId xmlns:a16="http://schemas.microsoft.com/office/drawing/2014/main" id="{A4F2AB2B-2213-4FE4-B9D3-19E56FACF765}"/>
                </a:ext>
              </a:extLst>
            </p:cNvPr>
            <p:cNvSpPr/>
            <p:nvPr/>
          </p:nvSpPr>
          <p:spPr>
            <a:xfrm>
              <a:off x="5179536" y="3180766"/>
              <a:ext cx="200025" cy="228600"/>
            </a:xfrm>
            <a:custGeom>
              <a:avLst/>
              <a:gdLst>
                <a:gd name="connsiteX0" fmla="*/ 159420 w 200025"/>
                <a:gd name="connsiteY0" fmla="*/ 225171 h 228600"/>
                <a:gd name="connsiteX1" fmla="*/ 159420 w 200025"/>
                <a:gd name="connsiteY1" fmla="*/ 193148 h 228600"/>
                <a:gd name="connsiteX2" fmla="*/ 86115 w 200025"/>
                <a:gd name="connsiteY2" fmla="*/ 230105 h 228600"/>
                <a:gd name="connsiteX3" fmla="*/ 47930 w 200025"/>
                <a:gd name="connsiteY3" fmla="*/ 222714 h 228600"/>
                <a:gd name="connsiteX4" fmla="*/ 21612 w 200025"/>
                <a:gd name="connsiteY4" fmla="*/ 204140 h 228600"/>
                <a:gd name="connsiteX5" fmla="*/ 9534 w 200025"/>
                <a:gd name="connsiteY5" fmla="*/ 176736 h 228600"/>
                <a:gd name="connsiteX6" fmla="*/ 7144 w 200025"/>
                <a:gd name="connsiteY6" fmla="*/ 142246 h 228600"/>
                <a:gd name="connsiteX7" fmla="*/ 7144 w 200025"/>
                <a:gd name="connsiteY7" fmla="*/ 7163 h 228600"/>
                <a:gd name="connsiteX8" fmla="*/ 46291 w 200025"/>
                <a:gd name="connsiteY8" fmla="*/ 7163 h 228600"/>
                <a:gd name="connsiteX9" fmla="*/ 46291 w 200025"/>
                <a:gd name="connsiteY9" fmla="*/ 128073 h 228600"/>
                <a:gd name="connsiteX10" fmla="*/ 48682 w 200025"/>
                <a:gd name="connsiteY10" fmla="*/ 167078 h 228600"/>
                <a:gd name="connsiteX11" fmla="*/ 64351 w 200025"/>
                <a:gd name="connsiteY11" fmla="*/ 189967 h 228600"/>
                <a:gd name="connsiteX12" fmla="*/ 93926 w 200025"/>
                <a:gd name="connsiteY12" fmla="*/ 198282 h 228600"/>
                <a:gd name="connsiteX13" fmla="*/ 126997 w 200025"/>
                <a:gd name="connsiteY13" fmla="*/ 189757 h 228600"/>
                <a:gd name="connsiteX14" fmla="*/ 148857 w 200025"/>
                <a:gd name="connsiteY14" fmla="*/ 166554 h 228600"/>
                <a:gd name="connsiteX15" fmla="*/ 155277 w 200025"/>
                <a:gd name="connsiteY15" fmla="*/ 123958 h 228600"/>
                <a:gd name="connsiteX16" fmla="*/ 155277 w 200025"/>
                <a:gd name="connsiteY16" fmla="*/ 7144 h 228600"/>
                <a:gd name="connsiteX17" fmla="*/ 194434 w 200025"/>
                <a:gd name="connsiteY17" fmla="*/ 7144 h 228600"/>
                <a:gd name="connsiteX18" fmla="*/ 194434 w 200025"/>
                <a:gd name="connsiteY18" fmla="*/ 225162 h 228600"/>
                <a:gd name="connsiteX19" fmla="*/ 159420 w 200025"/>
                <a:gd name="connsiteY19" fmla="*/ 225162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025" h="228600">
                  <a:moveTo>
                    <a:pt x="159420" y="225171"/>
                  </a:moveTo>
                  <a:lnTo>
                    <a:pt x="159420" y="193148"/>
                  </a:lnTo>
                  <a:cubicBezTo>
                    <a:pt x="141427" y="217789"/>
                    <a:pt x="116995" y="230105"/>
                    <a:pt x="86115" y="230105"/>
                  </a:cubicBezTo>
                  <a:cubicBezTo>
                    <a:pt x="72476" y="230105"/>
                    <a:pt x="59750" y="227638"/>
                    <a:pt x="47930" y="222714"/>
                  </a:cubicBezTo>
                  <a:cubicBezTo>
                    <a:pt x="36109" y="217789"/>
                    <a:pt x="27337" y="211598"/>
                    <a:pt x="21612" y="204140"/>
                  </a:cubicBezTo>
                  <a:cubicBezTo>
                    <a:pt x="15878" y="196682"/>
                    <a:pt x="11859" y="187547"/>
                    <a:pt x="9534" y="176736"/>
                  </a:cubicBezTo>
                  <a:cubicBezTo>
                    <a:pt x="7934" y="169478"/>
                    <a:pt x="7144" y="157982"/>
                    <a:pt x="7144" y="142246"/>
                  </a:cubicBezTo>
                  <a:lnTo>
                    <a:pt x="7144" y="7163"/>
                  </a:lnTo>
                  <a:lnTo>
                    <a:pt x="46291" y="7163"/>
                  </a:lnTo>
                  <a:lnTo>
                    <a:pt x="46291" y="128073"/>
                  </a:lnTo>
                  <a:cubicBezTo>
                    <a:pt x="46291" y="147371"/>
                    <a:pt x="47082" y="160382"/>
                    <a:pt x="48682" y="167078"/>
                  </a:cubicBezTo>
                  <a:cubicBezTo>
                    <a:pt x="51149" y="176803"/>
                    <a:pt x="56369" y="184423"/>
                    <a:pt x="64351" y="189967"/>
                  </a:cubicBezTo>
                  <a:cubicBezTo>
                    <a:pt x="72323" y="195510"/>
                    <a:pt x="82191" y="198282"/>
                    <a:pt x="93926" y="198282"/>
                  </a:cubicBezTo>
                  <a:cubicBezTo>
                    <a:pt x="105670" y="198282"/>
                    <a:pt x="116700" y="195443"/>
                    <a:pt x="126997" y="189757"/>
                  </a:cubicBezTo>
                  <a:cubicBezTo>
                    <a:pt x="137293" y="184080"/>
                    <a:pt x="144580" y="176346"/>
                    <a:pt x="148857" y="166554"/>
                  </a:cubicBezTo>
                  <a:cubicBezTo>
                    <a:pt x="153133" y="156763"/>
                    <a:pt x="155277" y="142570"/>
                    <a:pt x="155277" y="123958"/>
                  </a:cubicBezTo>
                  <a:lnTo>
                    <a:pt x="155277" y="7144"/>
                  </a:lnTo>
                  <a:lnTo>
                    <a:pt x="194434" y="7144"/>
                  </a:lnTo>
                  <a:lnTo>
                    <a:pt x="194434" y="225162"/>
                  </a:lnTo>
                  <a:lnTo>
                    <a:pt x="159420" y="225162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7" name="Forme libre : forme 126">
              <a:extLst>
                <a:ext uri="{FF2B5EF4-FFF2-40B4-BE49-F238E27FC236}">
                  <a16:creationId xmlns:a16="http://schemas.microsoft.com/office/drawing/2014/main" id="{BE5E0E70-CD8A-4E5C-89C0-BC55E0B739F9}"/>
                </a:ext>
              </a:extLst>
            </p:cNvPr>
            <p:cNvSpPr/>
            <p:nvPr/>
          </p:nvSpPr>
          <p:spPr>
            <a:xfrm>
              <a:off x="5429977" y="3097842"/>
              <a:ext cx="47625" cy="314325"/>
            </a:xfrm>
            <a:custGeom>
              <a:avLst/>
              <a:gdLst>
                <a:gd name="connsiteX0" fmla="*/ 7144 w 47625"/>
                <a:gd name="connsiteY0" fmla="*/ 308096 h 314325"/>
                <a:gd name="connsiteX1" fmla="*/ 7144 w 47625"/>
                <a:gd name="connsiteY1" fmla="*/ 7144 h 314325"/>
                <a:gd name="connsiteX2" fmla="*/ 46291 w 47625"/>
                <a:gd name="connsiteY2" fmla="*/ 7144 h 314325"/>
                <a:gd name="connsiteX3" fmla="*/ 46291 w 47625"/>
                <a:gd name="connsiteY3" fmla="*/ 308096 h 314325"/>
                <a:gd name="connsiteX4" fmla="*/ 7144 w 47625"/>
                <a:gd name="connsiteY4" fmla="*/ 308096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314325">
                  <a:moveTo>
                    <a:pt x="7144" y="308096"/>
                  </a:moveTo>
                  <a:lnTo>
                    <a:pt x="7144" y="7144"/>
                  </a:lnTo>
                  <a:lnTo>
                    <a:pt x="46291" y="7144"/>
                  </a:lnTo>
                  <a:lnTo>
                    <a:pt x="46291" y="308096"/>
                  </a:lnTo>
                  <a:lnTo>
                    <a:pt x="7144" y="308096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8" name="Forme libre : forme 127">
              <a:extLst>
                <a:ext uri="{FF2B5EF4-FFF2-40B4-BE49-F238E27FC236}">
                  <a16:creationId xmlns:a16="http://schemas.microsoft.com/office/drawing/2014/main" id="{6A1B0552-7334-4F87-A815-458686BFF990}"/>
                </a:ext>
              </a:extLst>
            </p:cNvPr>
            <p:cNvSpPr/>
            <p:nvPr/>
          </p:nvSpPr>
          <p:spPr>
            <a:xfrm>
              <a:off x="5510958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5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2 w 123825"/>
                <a:gd name="connsiteY5" fmla="*/ 237468 h 304800"/>
                <a:gd name="connsiteX6" fmla="*/ 35862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2 w 123825"/>
                <a:gd name="connsiteY9" fmla="*/ 83296 h 304800"/>
                <a:gd name="connsiteX10" fmla="*/ 35862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1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5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2" y="259642"/>
                    <a:pt x="35862" y="237468"/>
                  </a:cubicBezTo>
                  <a:lnTo>
                    <a:pt x="35862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2" y="83296"/>
                  </a:lnTo>
                  <a:lnTo>
                    <a:pt x="35862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1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9" name="Forme libre : forme 128">
              <a:extLst>
                <a:ext uri="{FF2B5EF4-FFF2-40B4-BE49-F238E27FC236}">
                  <a16:creationId xmlns:a16="http://schemas.microsoft.com/office/drawing/2014/main" id="{31ED9D06-919C-487A-A0A9-8C7A842308A6}"/>
                </a:ext>
              </a:extLst>
            </p:cNvPr>
            <p:cNvSpPr/>
            <p:nvPr/>
          </p:nvSpPr>
          <p:spPr>
            <a:xfrm>
              <a:off x="5645670" y="3175861"/>
              <a:ext cx="219075" cy="238125"/>
            </a:xfrm>
            <a:custGeom>
              <a:avLst/>
              <a:gdLst>
                <a:gd name="connsiteX0" fmla="*/ 171155 w 219075"/>
                <a:gd name="connsiteY0" fmla="*/ 203187 h 238125"/>
                <a:gd name="connsiteX1" fmla="*/ 129283 w 219075"/>
                <a:gd name="connsiteY1" fmla="*/ 227819 h 238125"/>
                <a:gd name="connsiteX2" fmla="*/ 86106 w 219075"/>
                <a:gd name="connsiteY2" fmla="*/ 235010 h 238125"/>
                <a:gd name="connsiteX3" fmla="*/ 27584 w 219075"/>
                <a:gd name="connsiteY3" fmla="*/ 217456 h 238125"/>
                <a:gd name="connsiteX4" fmla="*/ 7144 w 219075"/>
                <a:gd name="connsiteY4" fmla="*/ 172603 h 238125"/>
                <a:gd name="connsiteX5" fmla="*/ 14869 w 219075"/>
                <a:gd name="connsiteY5" fmla="*/ 143351 h 238125"/>
                <a:gd name="connsiteX6" fmla="*/ 35100 w 219075"/>
                <a:gd name="connsiteY6" fmla="*/ 122111 h 238125"/>
                <a:gd name="connsiteX7" fmla="*/ 63265 w 219075"/>
                <a:gd name="connsiteY7" fmla="*/ 109995 h 238125"/>
                <a:gd name="connsiteX8" fmla="*/ 98069 w 219075"/>
                <a:gd name="connsiteY8" fmla="*/ 104461 h 238125"/>
                <a:gd name="connsiteX9" fmla="*/ 167897 w 219075"/>
                <a:gd name="connsiteY9" fmla="*/ 91726 h 238125"/>
                <a:gd name="connsiteX10" fmla="*/ 168107 w 219075"/>
                <a:gd name="connsiteY10" fmla="*/ 82077 h 238125"/>
                <a:gd name="connsiteX11" fmla="*/ 157010 w 219075"/>
                <a:gd name="connsiteY11" fmla="*/ 50254 h 238125"/>
                <a:gd name="connsiteX12" fmla="*/ 112414 w 219075"/>
                <a:gd name="connsiteY12" fmla="*/ 37738 h 238125"/>
                <a:gd name="connsiteX13" fmla="*/ 71628 w 219075"/>
                <a:gd name="connsiteY13" fmla="*/ 46873 h 238125"/>
                <a:gd name="connsiteX14" fmla="*/ 52159 w 219075"/>
                <a:gd name="connsiteY14" fmla="*/ 79210 h 238125"/>
                <a:gd name="connsiteX15" fmla="*/ 13868 w 219075"/>
                <a:gd name="connsiteY15" fmla="*/ 74276 h 238125"/>
                <a:gd name="connsiteX16" fmla="*/ 31061 w 219075"/>
                <a:gd name="connsiteY16" fmla="*/ 36814 h 238125"/>
                <a:gd name="connsiteX17" fmla="*/ 65646 w 219075"/>
                <a:gd name="connsiteY17" fmla="*/ 14840 h 238125"/>
                <a:gd name="connsiteX18" fmla="*/ 118072 w 219075"/>
                <a:gd name="connsiteY18" fmla="*/ 7144 h 238125"/>
                <a:gd name="connsiteX19" fmla="*/ 166145 w 219075"/>
                <a:gd name="connsiteY19" fmla="*/ 13706 h 238125"/>
                <a:gd name="connsiteX20" fmla="*/ 193338 w 219075"/>
                <a:gd name="connsiteY20" fmla="*/ 30232 h 238125"/>
                <a:gd name="connsiteX21" fmla="*/ 205511 w 219075"/>
                <a:gd name="connsiteY21" fmla="*/ 55378 h 238125"/>
                <a:gd name="connsiteX22" fmla="*/ 207474 w 219075"/>
                <a:gd name="connsiteY22" fmla="*/ 89459 h 238125"/>
                <a:gd name="connsiteX23" fmla="*/ 207474 w 219075"/>
                <a:gd name="connsiteY23" fmla="*/ 138722 h 238125"/>
                <a:gd name="connsiteX24" fmla="*/ 209979 w 219075"/>
                <a:gd name="connsiteY24" fmla="*/ 203902 h 238125"/>
                <a:gd name="connsiteX25" fmla="*/ 219875 w 219075"/>
                <a:gd name="connsiteY25" fmla="*/ 230076 h 238125"/>
                <a:gd name="connsiteX26" fmla="*/ 178975 w 219075"/>
                <a:gd name="connsiteY26" fmla="*/ 230076 h 238125"/>
                <a:gd name="connsiteX27" fmla="*/ 171155 w 219075"/>
                <a:gd name="connsiteY27" fmla="*/ 203187 h 238125"/>
                <a:gd name="connsiteX28" fmla="*/ 167897 w 219075"/>
                <a:gd name="connsiteY28" fmla="*/ 120663 h 238125"/>
                <a:gd name="connsiteX29" fmla="*/ 103937 w 219075"/>
                <a:gd name="connsiteY29" fmla="*/ 134626 h 238125"/>
                <a:gd name="connsiteX30" fmla="*/ 69790 w 219075"/>
                <a:gd name="connsiteY30" fmla="*/ 142008 h 238125"/>
                <a:gd name="connsiteX31" fmla="*/ 54340 w 219075"/>
                <a:gd name="connsiteY31" fmla="*/ 154019 h 238125"/>
                <a:gd name="connsiteX32" fmla="*/ 48911 w 219075"/>
                <a:gd name="connsiteY32" fmla="*/ 171574 h 238125"/>
                <a:gd name="connsiteX33" fmla="*/ 60760 w 219075"/>
                <a:gd name="connsiteY33" fmla="*/ 196215 h 238125"/>
                <a:gd name="connsiteX34" fmla="*/ 95460 w 219075"/>
                <a:gd name="connsiteY34" fmla="*/ 206064 h 238125"/>
                <a:gd name="connsiteX35" fmla="*/ 135703 w 219075"/>
                <a:gd name="connsiteY35" fmla="*/ 196729 h 238125"/>
                <a:gd name="connsiteX36" fmla="*/ 161592 w 219075"/>
                <a:gd name="connsiteY36" fmla="*/ 171164 h 238125"/>
                <a:gd name="connsiteX37" fmla="*/ 167907 w 219075"/>
                <a:gd name="connsiteY37" fmla="*/ 134217 h 238125"/>
                <a:gd name="connsiteX38" fmla="*/ 167907 w 219075"/>
                <a:gd name="connsiteY38" fmla="*/ 120663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9075" h="238125">
                  <a:moveTo>
                    <a:pt x="171155" y="203187"/>
                  </a:moveTo>
                  <a:cubicBezTo>
                    <a:pt x="156658" y="214827"/>
                    <a:pt x="142694" y="223028"/>
                    <a:pt x="129283" y="227819"/>
                  </a:cubicBezTo>
                  <a:cubicBezTo>
                    <a:pt x="115862" y="232610"/>
                    <a:pt x="101470" y="235010"/>
                    <a:pt x="86106" y="235010"/>
                  </a:cubicBezTo>
                  <a:cubicBezTo>
                    <a:pt x="60722" y="235010"/>
                    <a:pt x="41215" y="229162"/>
                    <a:pt x="27584" y="217456"/>
                  </a:cubicBezTo>
                  <a:cubicBezTo>
                    <a:pt x="13944" y="205750"/>
                    <a:pt x="7144" y="190805"/>
                    <a:pt x="7144" y="172603"/>
                  </a:cubicBezTo>
                  <a:cubicBezTo>
                    <a:pt x="7144" y="161925"/>
                    <a:pt x="9715" y="152171"/>
                    <a:pt x="14869" y="143351"/>
                  </a:cubicBezTo>
                  <a:cubicBezTo>
                    <a:pt x="20012" y="134522"/>
                    <a:pt x="26756" y="127435"/>
                    <a:pt x="35100" y="122111"/>
                  </a:cubicBezTo>
                  <a:cubicBezTo>
                    <a:pt x="43434" y="116767"/>
                    <a:pt x="52826" y="112738"/>
                    <a:pt x="63265" y="109995"/>
                  </a:cubicBezTo>
                  <a:cubicBezTo>
                    <a:pt x="70952" y="108090"/>
                    <a:pt x="82544" y="106232"/>
                    <a:pt x="98069" y="104461"/>
                  </a:cubicBezTo>
                  <a:cubicBezTo>
                    <a:pt x="129673" y="100898"/>
                    <a:pt x="152962" y="96660"/>
                    <a:pt x="167897" y="91726"/>
                  </a:cubicBezTo>
                  <a:cubicBezTo>
                    <a:pt x="168040" y="86668"/>
                    <a:pt x="168107" y="83449"/>
                    <a:pt x="168107" y="82077"/>
                  </a:cubicBezTo>
                  <a:cubicBezTo>
                    <a:pt x="168107" y="67027"/>
                    <a:pt x="164402" y="56417"/>
                    <a:pt x="157010" y="50254"/>
                  </a:cubicBezTo>
                  <a:cubicBezTo>
                    <a:pt x="147009" y="41910"/>
                    <a:pt x="132140" y="37738"/>
                    <a:pt x="112414" y="37738"/>
                  </a:cubicBezTo>
                  <a:cubicBezTo>
                    <a:pt x="93993" y="37738"/>
                    <a:pt x="80410" y="40786"/>
                    <a:pt x="71628" y="46873"/>
                  </a:cubicBezTo>
                  <a:cubicBezTo>
                    <a:pt x="62855" y="52969"/>
                    <a:pt x="56359" y="63741"/>
                    <a:pt x="52159" y="79210"/>
                  </a:cubicBezTo>
                  <a:lnTo>
                    <a:pt x="13868" y="74276"/>
                  </a:lnTo>
                  <a:cubicBezTo>
                    <a:pt x="17354" y="58817"/>
                    <a:pt x="23079" y="46330"/>
                    <a:pt x="31061" y="36814"/>
                  </a:cubicBezTo>
                  <a:cubicBezTo>
                    <a:pt x="39033" y="27299"/>
                    <a:pt x="50568" y="19974"/>
                    <a:pt x="65646" y="14840"/>
                  </a:cubicBezTo>
                  <a:cubicBezTo>
                    <a:pt x="80734" y="9716"/>
                    <a:pt x="98203" y="7144"/>
                    <a:pt x="118072" y="7144"/>
                  </a:cubicBezTo>
                  <a:cubicBezTo>
                    <a:pt x="137789" y="7144"/>
                    <a:pt x="153819" y="9325"/>
                    <a:pt x="166145" y="13706"/>
                  </a:cubicBezTo>
                  <a:cubicBezTo>
                    <a:pt x="178470" y="18088"/>
                    <a:pt x="187538" y="23593"/>
                    <a:pt x="193338" y="30232"/>
                  </a:cubicBezTo>
                  <a:cubicBezTo>
                    <a:pt x="199130" y="36862"/>
                    <a:pt x="203197" y="45244"/>
                    <a:pt x="205511" y="55378"/>
                  </a:cubicBezTo>
                  <a:cubicBezTo>
                    <a:pt x="206826" y="61674"/>
                    <a:pt x="207474" y="73038"/>
                    <a:pt x="207474" y="89459"/>
                  </a:cubicBezTo>
                  <a:lnTo>
                    <a:pt x="207474" y="138722"/>
                  </a:lnTo>
                  <a:cubicBezTo>
                    <a:pt x="207474" y="173069"/>
                    <a:pt x="208302" y="194805"/>
                    <a:pt x="209979" y="203902"/>
                  </a:cubicBezTo>
                  <a:cubicBezTo>
                    <a:pt x="211646" y="213008"/>
                    <a:pt x="214941" y="221733"/>
                    <a:pt x="219875" y="230076"/>
                  </a:cubicBezTo>
                  <a:lnTo>
                    <a:pt x="178975" y="230076"/>
                  </a:lnTo>
                  <a:cubicBezTo>
                    <a:pt x="174927" y="222409"/>
                    <a:pt x="172317" y="213446"/>
                    <a:pt x="171155" y="203187"/>
                  </a:cubicBezTo>
                  <a:close/>
                  <a:moveTo>
                    <a:pt x="167897" y="120663"/>
                  </a:moveTo>
                  <a:cubicBezTo>
                    <a:pt x="153676" y="126140"/>
                    <a:pt x="132369" y="130788"/>
                    <a:pt x="103937" y="134626"/>
                  </a:cubicBezTo>
                  <a:cubicBezTo>
                    <a:pt x="87849" y="136808"/>
                    <a:pt x="76457" y="139275"/>
                    <a:pt x="69790" y="142008"/>
                  </a:cubicBezTo>
                  <a:cubicBezTo>
                    <a:pt x="63113" y="144751"/>
                    <a:pt x="57969" y="148752"/>
                    <a:pt x="54340" y="154019"/>
                  </a:cubicBezTo>
                  <a:cubicBezTo>
                    <a:pt x="50711" y="159296"/>
                    <a:pt x="48911" y="165144"/>
                    <a:pt x="48911" y="171574"/>
                  </a:cubicBezTo>
                  <a:cubicBezTo>
                    <a:pt x="48911" y="181432"/>
                    <a:pt x="52854" y="189633"/>
                    <a:pt x="60760" y="196215"/>
                  </a:cubicBezTo>
                  <a:cubicBezTo>
                    <a:pt x="68666" y="202778"/>
                    <a:pt x="80229" y="206064"/>
                    <a:pt x="95460" y="206064"/>
                  </a:cubicBezTo>
                  <a:cubicBezTo>
                    <a:pt x="110538" y="206064"/>
                    <a:pt x="123958" y="202949"/>
                    <a:pt x="135703" y="196729"/>
                  </a:cubicBezTo>
                  <a:cubicBezTo>
                    <a:pt x="147447" y="190500"/>
                    <a:pt x="156086" y="181985"/>
                    <a:pt x="161592" y="171164"/>
                  </a:cubicBezTo>
                  <a:cubicBezTo>
                    <a:pt x="165792" y="162820"/>
                    <a:pt x="167907" y="150504"/>
                    <a:pt x="167907" y="134217"/>
                  </a:cubicBezTo>
                  <a:lnTo>
                    <a:pt x="167907" y="120663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0" name="Forme libre : forme 129">
              <a:extLst>
                <a:ext uri="{FF2B5EF4-FFF2-40B4-BE49-F238E27FC236}">
                  <a16:creationId xmlns:a16="http://schemas.microsoft.com/office/drawing/2014/main" id="{C683304A-AE8F-49B8-A3D9-084FF73D89A5}"/>
                </a:ext>
              </a:extLst>
            </p:cNvPr>
            <p:cNvSpPr/>
            <p:nvPr/>
          </p:nvSpPr>
          <p:spPr>
            <a:xfrm>
              <a:off x="5909360" y="3175861"/>
              <a:ext cx="200025" cy="228600"/>
            </a:xfrm>
            <a:custGeom>
              <a:avLst/>
              <a:gdLst>
                <a:gd name="connsiteX0" fmla="*/ 7144 w 200025"/>
                <a:gd name="connsiteY0" fmla="*/ 230076 h 228600"/>
                <a:gd name="connsiteX1" fmla="*/ 7144 w 200025"/>
                <a:gd name="connsiteY1" fmla="*/ 12059 h 228600"/>
                <a:gd name="connsiteX2" fmla="*/ 42386 w 200025"/>
                <a:gd name="connsiteY2" fmla="*/ 12059 h 228600"/>
                <a:gd name="connsiteX3" fmla="*/ 42386 w 200025"/>
                <a:gd name="connsiteY3" fmla="*/ 43062 h 228600"/>
                <a:gd name="connsiteX4" fmla="*/ 115910 w 200025"/>
                <a:gd name="connsiteY4" fmla="*/ 7144 h 228600"/>
                <a:gd name="connsiteX5" fmla="*/ 154305 w 200025"/>
                <a:gd name="connsiteY5" fmla="*/ 14221 h 228600"/>
                <a:gd name="connsiteX6" fmla="*/ 180508 w 200025"/>
                <a:gd name="connsiteY6" fmla="*/ 32795 h 228600"/>
                <a:gd name="connsiteX7" fmla="*/ 192691 w 200025"/>
                <a:gd name="connsiteY7" fmla="*/ 60103 h 228600"/>
                <a:gd name="connsiteX8" fmla="*/ 194872 w 200025"/>
                <a:gd name="connsiteY8" fmla="*/ 96021 h 228600"/>
                <a:gd name="connsiteX9" fmla="*/ 194872 w 200025"/>
                <a:gd name="connsiteY9" fmla="*/ 230067 h 228600"/>
                <a:gd name="connsiteX10" fmla="*/ 155724 w 200025"/>
                <a:gd name="connsiteY10" fmla="*/ 230067 h 228600"/>
                <a:gd name="connsiteX11" fmla="*/ 155724 w 200025"/>
                <a:gd name="connsiteY11" fmla="*/ 97450 h 228600"/>
                <a:gd name="connsiteX12" fmla="*/ 151152 w 200025"/>
                <a:gd name="connsiteY12" fmla="*/ 63684 h 228600"/>
                <a:gd name="connsiteX13" fmla="*/ 134950 w 200025"/>
                <a:gd name="connsiteY13" fmla="*/ 45825 h 228600"/>
                <a:gd name="connsiteX14" fmla="*/ 107652 w 200025"/>
                <a:gd name="connsiteY14" fmla="*/ 39157 h 228600"/>
                <a:gd name="connsiteX15" fmla="*/ 64475 w 200025"/>
                <a:gd name="connsiteY15" fmla="*/ 54140 h 228600"/>
                <a:gd name="connsiteX16" fmla="*/ 46311 w 200025"/>
                <a:gd name="connsiteY16" fmla="*/ 111004 h 228600"/>
                <a:gd name="connsiteX17" fmla="*/ 46311 w 200025"/>
                <a:gd name="connsiteY17" fmla="*/ 230067 h 228600"/>
                <a:gd name="connsiteX18" fmla="*/ 7144 w 200025"/>
                <a:gd name="connsiteY18" fmla="*/ 23006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025" h="228600">
                  <a:moveTo>
                    <a:pt x="7144" y="230076"/>
                  </a:moveTo>
                  <a:lnTo>
                    <a:pt x="7144" y="12059"/>
                  </a:lnTo>
                  <a:lnTo>
                    <a:pt x="42386" y="12059"/>
                  </a:lnTo>
                  <a:lnTo>
                    <a:pt x="42386" y="43062"/>
                  </a:lnTo>
                  <a:cubicBezTo>
                    <a:pt x="59350" y="19107"/>
                    <a:pt x="83858" y="7144"/>
                    <a:pt x="115910" y="7144"/>
                  </a:cubicBezTo>
                  <a:cubicBezTo>
                    <a:pt x="129835" y="7144"/>
                    <a:pt x="142627" y="9506"/>
                    <a:pt x="154305" y="14221"/>
                  </a:cubicBezTo>
                  <a:cubicBezTo>
                    <a:pt x="165973" y="18945"/>
                    <a:pt x="174717" y="25136"/>
                    <a:pt x="180508" y="32795"/>
                  </a:cubicBezTo>
                  <a:cubicBezTo>
                    <a:pt x="186309" y="40472"/>
                    <a:pt x="190376" y="49568"/>
                    <a:pt x="192691" y="60103"/>
                  </a:cubicBezTo>
                  <a:cubicBezTo>
                    <a:pt x="194139" y="66951"/>
                    <a:pt x="194872" y="78924"/>
                    <a:pt x="194872" y="96021"/>
                  </a:cubicBezTo>
                  <a:lnTo>
                    <a:pt x="194872" y="230067"/>
                  </a:lnTo>
                  <a:lnTo>
                    <a:pt x="155724" y="230067"/>
                  </a:lnTo>
                  <a:lnTo>
                    <a:pt x="155724" y="97450"/>
                  </a:lnTo>
                  <a:cubicBezTo>
                    <a:pt x="155724" y="82401"/>
                    <a:pt x="154200" y="71142"/>
                    <a:pt x="151152" y="63684"/>
                  </a:cubicBezTo>
                  <a:cubicBezTo>
                    <a:pt x="148114" y="56226"/>
                    <a:pt x="142704" y="50273"/>
                    <a:pt x="134950" y="45825"/>
                  </a:cubicBezTo>
                  <a:cubicBezTo>
                    <a:pt x="127197" y="41377"/>
                    <a:pt x="118091" y="39157"/>
                    <a:pt x="107652" y="39157"/>
                  </a:cubicBezTo>
                  <a:cubicBezTo>
                    <a:pt x="90973" y="39157"/>
                    <a:pt x="76581" y="44148"/>
                    <a:pt x="64475" y="54140"/>
                  </a:cubicBezTo>
                  <a:cubicBezTo>
                    <a:pt x="52369" y="64132"/>
                    <a:pt x="46311" y="83077"/>
                    <a:pt x="46311" y="111004"/>
                  </a:cubicBezTo>
                  <a:lnTo>
                    <a:pt x="46311" y="230067"/>
                  </a:lnTo>
                  <a:lnTo>
                    <a:pt x="7144" y="230067"/>
                  </a:ln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1" name="Forme libre : forme 130">
              <a:extLst>
                <a:ext uri="{FF2B5EF4-FFF2-40B4-BE49-F238E27FC236}">
                  <a16:creationId xmlns:a16="http://schemas.microsoft.com/office/drawing/2014/main" id="{27A1AAB6-D5E7-432A-8B38-4E3658BB18EB}"/>
                </a:ext>
              </a:extLst>
            </p:cNvPr>
            <p:cNvSpPr/>
            <p:nvPr/>
          </p:nvSpPr>
          <p:spPr>
            <a:xfrm>
              <a:off x="6138265" y="3104623"/>
              <a:ext cx="123825" cy="304800"/>
            </a:xfrm>
            <a:custGeom>
              <a:avLst/>
              <a:gdLst>
                <a:gd name="connsiteX0" fmla="*/ 114167 w 123825"/>
                <a:gd name="connsiteY0" fmla="*/ 268262 h 304800"/>
                <a:gd name="connsiteX1" fmla="*/ 119824 w 123825"/>
                <a:gd name="connsiteY1" fmla="*/ 300904 h 304800"/>
                <a:gd name="connsiteX2" fmla="*/ 90240 w 123825"/>
                <a:gd name="connsiteY2" fmla="*/ 304190 h 304800"/>
                <a:gd name="connsiteX3" fmla="*/ 57178 w 123825"/>
                <a:gd name="connsiteY3" fmla="*/ 297828 h 304800"/>
                <a:gd name="connsiteX4" fmla="*/ 40643 w 123825"/>
                <a:gd name="connsiteY4" fmla="*/ 281092 h 304800"/>
                <a:gd name="connsiteX5" fmla="*/ 35861 w 123825"/>
                <a:gd name="connsiteY5" fmla="*/ 237468 h 304800"/>
                <a:gd name="connsiteX6" fmla="*/ 35861 w 123825"/>
                <a:gd name="connsiteY6" fmla="*/ 112043 h 304800"/>
                <a:gd name="connsiteX7" fmla="*/ 7144 w 123825"/>
                <a:gd name="connsiteY7" fmla="*/ 112043 h 304800"/>
                <a:gd name="connsiteX8" fmla="*/ 7144 w 123825"/>
                <a:gd name="connsiteY8" fmla="*/ 83296 h 304800"/>
                <a:gd name="connsiteX9" fmla="*/ 35861 w 123825"/>
                <a:gd name="connsiteY9" fmla="*/ 83296 h 304800"/>
                <a:gd name="connsiteX10" fmla="*/ 35861 w 123825"/>
                <a:gd name="connsiteY10" fmla="*/ 29309 h 304800"/>
                <a:gd name="connsiteX11" fmla="*/ 74800 w 123825"/>
                <a:gd name="connsiteY11" fmla="*/ 7144 h 304800"/>
                <a:gd name="connsiteX12" fmla="*/ 74800 w 123825"/>
                <a:gd name="connsiteY12" fmla="*/ 83296 h 304800"/>
                <a:gd name="connsiteX13" fmla="*/ 114176 w 123825"/>
                <a:gd name="connsiteY13" fmla="*/ 83296 h 304800"/>
                <a:gd name="connsiteX14" fmla="*/ 114176 w 123825"/>
                <a:gd name="connsiteY14" fmla="*/ 112043 h 304800"/>
                <a:gd name="connsiteX15" fmla="*/ 74800 w 123825"/>
                <a:gd name="connsiteY15" fmla="*/ 112043 h 304800"/>
                <a:gd name="connsiteX16" fmla="*/ 74800 w 123825"/>
                <a:gd name="connsiteY16" fmla="*/ 239525 h 304800"/>
                <a:gd name="connsiteX17" fmla="*/ 76867 w 123825"/>
                <a:gd name="connsiteY17" fmla="*/ 259852 h 304800"/>
                <a:gd name="connsiteX18" fmla="*/ 83610 w 123825"/>
                <a:gd name="connsiteY18" fmla="*/ 267033 h 304800"/>
                <a:gd name="connsiteX19" fmla="*/ 96984 w 123825"/>
                <a:gd name="connsiteY19" fmla="*/ 269700 h 304800"/>
                <a:gd name="connsiteX20" fmla="*/ 114167 w 123825"/>
                <a:gd name="connsiteY20" fmla="*/ 268262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3825" h="304800">
                  <a:moveTo>
                    <a:pt x="114167" y="268262"/>
                  </a:moveTo>
                  <a:lnTo>
                    <a:pt x="119824" y="300904"/>
                  </a:lnTo>
                  <a:cubicBezTo>
                    <a:pt x="108804" y="303086"/>
                    <a:pt x="98946" y="304190"/>
                    <a:pt x="90240" y="304190"/>
                  </a:cubicBezTo>
                  <a:cubicBezTo>
                    <a:pt x="76029" y="304190"/>
                    <a:pt x="65008" y="302066"/>
                    <a:pt x="57178" y="297828"/>
                  </a:cubicBezTo>
                  <a:cubicBezTo>
                    <a:pt x="49349" y="293589"/>
                    <a:pt x="43834" y="288007"/>
                    <a:pt x="40643" y="281092"/>
                  </a:cubicBezTo>
                  <a:cubicBezTo>
                    <a:pt x="37452" y="274177"/>
                    <a:pt x="35861" y="259642"/>
                    <a:pt x="35861" y="237468"/>
                  </a:cubicBezTo>
                  <a:lnTo>
                    <a:pt x="35861" y="112043"/>
                  </a:lnTo>
                  <a:lnTo>
                    <a:pt x="7144" y="112043"/>
                  </a:lnTo>
                  <a:lnTo>
                    <a:pt x="7144" y="83296"/>
                  </a:lnTo>
                  <a:lnTo>
                    <a:pt x="35861" y="83296"/>
                  </a:lnTo>
                  <a:lnTo>
                    <a:pt x="35861" y="29309"/>
                  </a:lnTo>
                  <a:lnTo>
                    <a:pt x="74800" y="7144"/>
                  </a:lnTo>
                  <a:lnTo>
                    <a:pt x="74800" y="83296"/>
                  </a:lnTo>
                  <a:lnTo>
                    <a:pt x="114176" y="83296"/>
                  </a:lnTo>
                  <a:lnTo>
                    <a:pt x="114176" y="112043"/>
                  </a:lnTo>
                  <a:lnTo>
                    <a:pt x="74800" y="112043"/>
                  </a:lnTo>
                  <a:lnTo>
                    <a:pt x="74800" y="239525"/>
                  </a:lnTo>
                  <a:cubicBezTo>
                    <a:pt x="74800" y="250060"/>
                    <a:pt x="75486" y="256842"/>
                    <a:pt x="76867" y="259852"/>
                  </a:cubicBezTo>
                  <a:cubicBezTo>
                    <a:pt x="78248" y="262861"/>
                    <a:pt x="80496" y="265252"/>
                    <a:pt x="83610" y="267033"/>
                  </a:cubicBezTo>
                  <a:cubicBezTo>
                    <a:pt x="86725" y="268824"/>
                    <a:pt x="91183" y="269700"/>
                    <a:pt x="96984" y="269700"/>
                  </a:cubicBezTo>
                  <a:cubicBezTo>
                    <a:pt x="101327" y="269700"/>
                    <a:pt x="107061" y="269224"/>
                    <a:pt x="114167" y="26826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2" name="Forme libre : forme 131">
              <a:extLst>
                <a:ext uri="{FF2B5EF4-FFF2-40B4-BE49-F238E27FC236}">
                  <a16:creationId xmlns:a16="http://schemas.microsoft.com/office/drawing/2014/main" id="{081F4768-AA88-4390-BEDB-4DB6452E4DBC}"/>
                </a:ext>
              </a:extLst>
            </p:cNvPr>
            <p:cNvSpPr/>
            <p:nvPr/>
          </p:nvSpPr>
          <p:spPr>
            <a:xfrm>
              <a:off x="6270577" y="3175861"/>
              <a:ext cx="200025" cy="238125"/>
            </a:xfrm>
            <a:custGeom>
              <a:avLst/>
              <a:gdLst>
                <a:gd name="connsiteX0" fmla="*/ 7144 w 200025"/>
                <a:gd name="connsiteY0" fmla="*/ 165002 h 238125"/>
                <a:gd name="connsiteX1" fmla="*/ 45863 w 200025"/>
                <a:gd name="connsiteY1" fmla="*/ 159248 h 238125"/>
                <a:gd name="connsiteX2" fmla="*/ 64027 w 200025"/>
                <a:gd name="connsiteY2" fmla="*/ 192910 h 238125"/>
                <a:gd name="connsiteX3" fmla="*/ 105680 w 200025"/>
                <a:gd name="connsiteY3" fmla="*/ 204616 h 238125"/>
                <a:gd name="connsiteX4" fmla="*/ 145704 w 200025"/>
                <a:gd name="connsiteY4" fmla="*/ 194253 h 238125"/>
                <a:gd name="connsiteX5" fmla="*/ 158753 w 200025"/>
                <a:gd name="connsiteY5" fmla="*/ 169926 h 238125"/>
                <a:gd name="connsiteX6" fmla="*/ 147228 w 200025"/>
                <a:gd name="connsiteY6" fmla="*/ 150219 h 238125"/>
                <a:gd name="connsiteX7" fmla="*/ 107204 w 200025"/>
                <a:gd name="connsiteY7" fmla="*/ 137703 h 238125"/>
                <a:gd name="connsiteX8" fmla="*/ 47482 w 200025"/>
                <a:gd name="connsiteY8" fmla="*/ 119948 h 238125"/>
                <a:gd name="connsiteX9" fmla="*/ 22260 w 200025"/>
                <a:gd name="connsiteY9" fmla="*/ 99212 h 238125"/>
                <a:gd name="connsiteX10" fmla="*/ 13668 w 200025"/>
                <a:gd name="connsiteY10" fmla="*/ 69961 h 238125"/>
                <a:gd name="connsiteX11" fmla="*/ 20736 w 200025"/>
                <a:gd name="connsiteY11" fmla="*/ 42967 h 238125"/>
                <a:gd name="connsiteX12" fmla="*/ 39986 w 200025"/>
                <a:gd name="connsiteY12" fmla="*/ 22336 h 238125"/>
                <a:gd name="connsiteX13" fmla="*/ 64884 w 200025"/>
                <a:gd name="connsiteY13" fmla="*/ 11554 h 238125"/>
                <a:gd name="connsiteX14" fmla="*/ 98717 w 200025"/>
                <a:gd name="connsiteY14" fmla="*/ 7144 h 238125"/>
                <a:gd name="connsiteX15" fmla="*/ 146466 w 200025"/>
                <a:gd name="connsiteY15" fmla="*/ 14526 h 238125"/>
                <a:gd name="connsiteX16" fmla="*/ 176813 w 200025"/>
                <a:gd name="connsiteY16" fmla="*/ 34547 h 238125"/>
                <a:gd name="connsiteX17" fmla="*/ 190300 w 200025"/>
                <a:gd name="connsiteY17" fmla="*/ 68313 h 238125"/>
                <a:gd name="connsiteX18" fmla="*/ 152010 w 200025"/>
                <a:gd name="connsiteY18" fmla="*/ 73247 h 238125"/>
                <a:gd name="connsiteX19" fmla="*/ 136893 w 200025"/>
                <a:gd name="connsiteY19" fmla="*/ 46968 h 238125"/>
                <a:gd name="connsiteX20" fmla="*/ 101546 w 200025"/>
                <a:gd name="connsiteY20" fmla="*/ 37529 h 238125"/>
                <a:gd name="connsiteX21" fmla="*/ 63037 w 200025"/>
                <a:gd name="connsiteY21" fmla="*/ 45949 h 238125"/>
                <a:gd name="connsiteX22" fmla="*/ 51511 w 200025"/>
                <a:gd name="connsiteY22" fmla="*/ 65656 h 238125"/>
                <a:gd name="connsiteX23" fmla="*/ 56293 w 200025"/>
                <a:gd name="connsiteY23" fmla="*/ 78581 h 238125"/>
                <a:gd name="connsiteX24" fmla="*/ 71304 w 200025"/>
                <a:gd name="connsiteY24" fmla="*/ 88430 h 238125"/>
                <a:gd name="connsiteX25" fmla="*/ 105889 w 200025"/>
                <a:gd name="connsiteY25" fmla="*/ 97869 h 238125"/>
                <a:gd name="connsiteX26" fmla="*/ 163868 w 200025"/>
                <a:gd name="connsiteY26" fmla="*/ 115014 h 238125"/>
                <a:gd name="connsiteX27" fmla="*/ 189643 w 200025"/>
                <a:gd name="connsiteY27" fmla="*/ 134417 h 238125"/>
                <a:gd name="connsiteX28" fmla="*/ 198987 w 200025"/>
                <a:gd name="connsiteY28" fmla="*/ 166021 h 238125"/>
                <a:gd name="connsiteX29" fmla="*/ 187576 w 200025"/>
                <a:gd name="connsiteY29" fmla="*/ 200816 h 238125"/>
                <a:gd name="connsiteX30" fmla="*/ 154619 w 200025"/>
                <a:gd name="connsiteY30" fmla="*/ 226066 h 238125"/>
                <a:gd name="connsiteX31" fmla="*/ 105889 w 200025"/>
                <a:gd name="connsiteY31" fmla="*/ 235001 h 238125"/>
                <a:gd name="connsiteX32" fmla="*/ 37262 w 200025"/>
                <a:gd name="connsiteY32" fmla="*/ 217341 h 238125"/>
                <a:gd name="connsiteX33" fmla="*/ 7144 w 200025"/>
                <a:gd name="connsiteY33" fmla="*/ 165002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00025" h="238125">
                  <a:moveTo>
                    <a:pt x="7144" y="165002"/>
                  </a:moveTo>
                  <a:lnTo>
                    <a:pt x="45863" y="159248"/>
                  </a:lnTo>
                  <a:cubicBezTo>
                    <a:pt x="48044" y="173898"/>
                    <a:pt x="54093" y="185118"/>
                    <a:pt x="64027" y="192910"/>
                  </a:cubicBezTo>
                  <a:cubicBezTo>
                    <a:pt x="73952" y="200711"/>
                    <a:pt x="87840" y="204616"/>
                    <a:pt x="105680" y="204616"/>
                  </a:cubicBezTo>
                  <a:cubicBezTo>
                    <a:pt x="123663" y="204616"/>
                    <a:pt x="137008" y="201168"/>
                    <a:pt x="145704" y="194253"/>
                  </a:cubicBezTo>
                  <a:cubicBezTo>
                    <a:pt x="154400" y="187338"/>
                    <a:pt x="158753" y="179232"/>
                    <a:pt x="158753" y="169926"/>
                  </a:cubicBezTo>
                  <a:cubicBezTo>
                    <a:pt x="158753" y="161573"/>
                    <a:pt x="154915" y="155010"/>
                    <a:pt x="147228" y="150219"/>
                  </a:cubicBezTo>
                  <a:cubicBezTo>
                    <a:pt x="141865" y="146933"/>
                    <a:pt x="128521" y="142761"/>
                    <a:pt x="107204" y="137703"/>
                  </a:cubicBezTo>
                  <a:cubicBezTo>
                    <a:pt x="78486" y="130855"/>
                    <a:pt x="58588" y="124939"/>
                    <a:pt x="47482" y="119948"/>
                  </a:cubicBezTo>
                  <a:cubicBezTo>
                    <a:pt x="36395" y="114957"/>
                    <a:pt x="27975" y="108042"/>
                    <a:pt x="22260" y="99212"/>
                  </a:cubicBezTo>
                  <a:cubicBezTo>
                    <a:pt x="16526" y="90383"/>
                    <a:pt x="13668" y="80639"/>
                    <a:pt x="13668" y="69961"/>
                  </a:cubicBezTo>
                  <a:cubicBezTo>
                    <a:pt x="13668" y="60236"/>
                    <a:pt x="16021" y="51245"/>
                    <a:pt x="20736" y="42967"/>
                  </a:cubicBezTo>
                  <a:cubicBezTo>
                    <a:pt x="25441" y="34690"/>
                    <a:pt x="31861" y="27813"/>
                    <a:pt x="39986" y="22336"/>
                  </a:cubicBezTo>
                  <a:cubicBezTo>
                    <a:pt x="46072" y="18097"/>
                    <a:pt x="54378" y="14507"/>
                    <a:pt x="64884" y="11554"/>
                  </a:cubicBezTo>
                  <a:cubicBezTo>
                    <a:pt x="75400" y="8611"/>
                    <a:pt x="86668" y="7144"/>
                    <a:pt x="98717" y="7144"/>
                  </a:cubicBezTo>
                  <a:cubicBezTo>
                    <a:pt x="116834" y="7144"/>
                    <a:pt x="132760" y="9611"/>
                    <a:pt x="146466" y="14526"/>
                  </a:cubicBezTo>
                  <a:cubicBezTo>
                    <a:pt x="160163" y="19460"/>
                    <a:pt x="170288" y="26127"/>
                    <a:pt x="176813" y="34547"/>
                  </a:cubicBezTo>
                  <a:cubicBezTo>
                    <a:pt x="183347" y="42967"/>
                    <a:pt x="187833" y="54216"/>
                    <a:pt x="190300" y="68313"/>
                  </a:cubicBezTo>
                  <a:lnTo>
                    <a:pt x="152010" y="73247"/>
                  </a:lnTo>
                  <a:cubicBezTo>
                    <a:pt x="150266" y="62027"/>
                    <a:pt x="145228" y="53264"/>
                    <a:pt x="136893" y="46968"/>
                  </a:cubicBezTo>
                  <a:cubicBezTo>
                    <a:pt x="128549" y="40681"/>
                    <a:pt x="116777" y="37529"/>
                    <a:pt x="101546" y="37529"/>
                  </a:cubicBezTo>
                  <a:cubicBezTo>
                    <a:pt x="83553" y="37529"/>
                    <a:pt x="70733" y="40338"/>
                    <a:pt x="63037" y="45949"/>
                  </a:cubicBezTo>
                  <a:cubicBezTo>
                    <a:pt x="55350" y="51559"/>
                    <a:pt x="51511" y="58131"/>
                    <a:pt x="51511" y="65656"/>
                  </a:cubicBezTo>
                  <a:cubicBezTo>
                    <a:pt x="51511" y="70447"/>
                    <a:pt x="53102" y="74752"/>
                    <a:pt x="56293" y="78581"/>
                  </a:cubicBezTo>
                  <a:cubicBezTo>
                    <a:pt x="59484" y="82553"/>
                    <a:pt x="64484" y="85839"/>
                    <a:pt x="71304" y="88430"/>
                  </a:cubicBezTo>
                  <a:cubicBezTo>
                    <a:pt x="75219" y="89802"/>
                    <a:pt x="86744" y="92955"/>
                    <a:pt x="105889" y="97869"/>
                  </a:cubicBezTo>
                  <a:cubicBezTo>
                    <a:pt x="133588" y="104851"/>
                    <a:pt x="152915" y="110566"/>
                    <a:pt x="163868" y="115014"/>
                  </a:cubicBezTo>
                  <a:cubicBezTo>
                    <a:pt x="174812" y="119462"/>
                    <a:pt x="183404" y="125930"/>
                    <a:pt x="189643" y="134417"/>
                  </a:cubicBezTo>
                  <a:cubicBezTo>
                    <a:pt x="195872" y="142904"/>
                    <a:pt x="198987" y="153438"/>
                    <a:pt x="198987" y="166021"/>
                  </a:cubicBezTo>
                  <a:cubicBezTo>
                    <a:pt x="198987" y="178346"/>
                    <a:pt x="195186" y="189938"/>
                    <a:pt x="187576" y="200816"/>
                  </a:cubicBezTo>
                  <a:cubicBezTo>
                    <a:pt x="179956" y="211703"/>
                    <a:pt x="168974" y="220113"/>
                    <a:pt x="154619" y="226066"/>
                  </a:cubicBezTo>
                  <a:cubicBezTo>
                    <a:pt x="140256" y="232019"/>
                    <a:pt x="124016" y="235001"/>
                    <a:pt x="105889" y="235001"/>
                  </a:cubicBezTo>
                  <a:cubicBezTo>
                    <a:pt x="75876" y="235001"/>
                    <a:pt x="52997" y="229114"/>
                    <a:pt x="37262" y="217341"/>
                  </a:cubicBezTo>
                  <a:cubicBezTo>
                    <a:pt x="21527" y="205569"/>
                    <a:pt x="11497" y="188138"/>
                    <a:pt x="7144" y="165002"/>
                  </a:cubicBezTo>
                  <a:close/>
                </a:path>
              </a:pathLst>
            </a:custGeom>
            <a:solidFill>
              <a:srgbClr val="00974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34" name="Picture 4">
            <a:extLst>
              <a:ext uri="{FF2B5EF4-FFF2-40B4-BE49-F238E27FC236}">
                <a16:creationId xmlns:a16="http://schemas.microsoft.com/office/drawing/2014/main" id="{FA6666E6-8878-4EEA-A478-6EDFF05782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72" y="6568994"/>
            <a:ext cx="462625" cy="257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09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9" r:id="rId2"/>
    <p:sldLayoutId id="2147483692" r:id="rId3"/>
    <p:sldLayoutId id="2147483694" r:id="rId4"/>
    <p:sldLayoutId id="2147483705" r:id="rId5"/>
    <p:sldLayoutId id="2147483707" r:id="rId6"/>
    <p:sldLayoutId id="2147483697" r:id="rId7"/>
    <p:sldLayoutId id="2147483702" r:id="rId8"/>
    <p:sldLayoutId id="2147483703" r:id="rId9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>
          <a:solidFill>
            <a:schemeClr val="tx1"/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tx1"/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chart" Target="../charts/chart2.xml"/><Relationship Id="rId3" Type="http://schemas.openxmlformats.org/officeDocument/2006/relationships/tags" Target="../tags/tag16.xml"/><Relationship Id="rId7" Type="http://schemas.openxmlformats.org/officeDocument/2006/relationships/chart" Target="../charts/chart1.xml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tags" Target="../tags/tag15.xml"/><Relationship Id="rId16" Type="http://schemas.openxmlformats.org/officeDocument/2006/relationships/image" Target="../media/image13.pn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11" Type="http://schemas.openxmlformats.org/officeDocument/2006/relationships/image" Target="../media/image8.sv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jpeg"/><Relationship Id="rId10" Type="http://schemas.openxmlformats.org/officeDocument/2006/relationships/image" Target="../media/image7.png"/><Relationship Id="rId19" Type="http://schemas.openxmlformats.org/officeDocument/2006/relationships/image" Target="../media/image1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svg"/><Relationship Id="rId1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14/relationships/chartEx" Target="../charts/chartEx2.xml"/><Relationship Id="rId13" Type="http://schemas.openxmlformats.org/officeDocument/2006/relationships/image" Target="../media/image8.sv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12" Type="http://schemas.openxmlformats.org/officeDocument/2006/relationships/image" Target="../media/image7.png"/><Relationship Id="rId17" Type="http://schemas.openxmlformats.org/officeDocument/2006/relationships/image" Target="../media/image15.png"/><Relationship Id="rId2" Type="http://schemas.openxmlformats.org/officeDocument/2006/relationships/tags" Target="../tags/tag17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4.vml"/><Relationship Id="rId6" Type="http://schemas.microsoft.com/office/2014/relationships/chartEx" Target="../charts/chartEx1.xml"/><Relationship Id="rId11" Type="http://schemas.openxmlformats.org/officeDocument/2006/relationships/image" Target="../media/image6.svg"/><Relationship Id="rId5" Type="http://schemas.openxmlformats.org/officeDocument/2006/relationships/image" Target="../media/image1.emf"/><Relationship Id="rId15" Type="http://schemas.openxmlformats.org/officeDocument/2006/relationships/image" Target="../media/image10.svg"/><Relationship Id="rId10" Type="http://schemas.openxmlformats.org/officeDocument/2006/relationships/image" Target="../media/image5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_468C616F.png"/><Relationship Id="rId1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2.xml"/><Relationship Id="rId21" Type="http://schemas.openxmlformats.org/officeDocument/2006/relationships/tags" Target="../tags/tag37.xml"/><Relationship Id="rId42" Type="http://schemas.openxmlformats.org/officeDocument/2006/relationships/tags" Target="../tags/tag58.xml"/><Relationship Id="rId47" Type="http://schemas.openxmlformats.org/officeDocument/2006/relationships/tags" Target="../tags/tag63.xml"/><Relationship Id="rId63" Type="http://schemas.openxmlformats.org/officeDocument/2006/relationships/image" Target="../media/image6.svg"/><Relationship Id="rId68" Type="http://schemas.openxmlformats.org/officeDocument/2006/relationships/image" Target="../media/image11.jpeg"/><Relationship Id="rId7" Type="http://schemas.openxmlformats.org/officeDocument/2006/relationships/tags" Target="../tags/tag23.xml"/><Relationship Id="rId71" Type="http://schemas.openxmlformats.org/officeDocument/2006/relationships/image" Target="../media/image16.svg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9" Type="http://schemas.openxmlformats.org/officeDocument/2006/relationships/tags" Target="../tags/tag45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40" Type="http://schemas.openxmlformats.org/officeDocument/2006/relationships/tags" Target="../tags/tag56.xml"/><Relationship Id="rId45" Type="http://schemas.openxmlformats.org/officeDocument/2006/relationships/tags" Target="../tags/tag61.xml"/><Relationship Id="rId53" Type="http://schemas.openxmlformats.org/officeDocument/2006/relationships/tags" Target="../tags/tag69.xml"/><Relationship Id="rId58" Type="http://schemas.openxmlformats.org/officeDocument/2006/relationships/slideLayout" Target="../slideLayouts/slideLayout1.xml"/><Relationship Id="rId66" Type="http://schemas.openxmlformats.org/officeDocument/2006/relationships/image" Target="../media/image9.png"/><Relationship Id="rId5" Type="http://schemas.openxmlformats.org/officeDocument/2006/relationships/tags" Target="../tags/tag21.xml"/><Relationship Id="rId61" Type="http://schemas.openxmlformats.org/officeDocument/2006/relationships/chart" Target="../charts/chart3.xml"/><Relationship Id="rId19" Type="http://schemas.openxmlformats.org/officeDocument/2006/relationships/tags" Target="../tags/tag3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43" Type="http://schemas.openxmlformats.org/officeDocument/2006/relationships/tags" Target="../tags/tag59.xml"/><Relationship Id="rId48" Type="http://schemas.openxmlformats.org/officeDocument/2006/relationships/tags" Target="../tags/tag64.xml"/><Relationship Id="rId56" Type="http://schemas.openxmlformats.org/officeDocument/2006/relationships/tags" Target="../tags/tag72.xml"/><Relationship Id="rId64" Type="http://schemas.openxmlformats.org/officeDocument/2006/relationships/image" Target="../media/image7.png"/><Relationship Id="rId69" Type="http://schemas.openxmlformats.org/officeDocument/2006/relationships/chart" Target="../charts/chart4.xml"/><Relationship Id="rId8" Type="http://schemas.openxmlformats.org/officeDocument/2006/relationships/tags" Target="../tags/tag24.xml"/><Relationship Id="rId51" Type="http://schemas.openxmlformats.org/officeDocument/2006/relationships/tags" Target="../tags/tag67.xml"/><Relationship Id="rId3" Type="http://schemas.openxmlformats.org/officeDocument/2006/relationships/tags" Target="../tags/tag19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46" Type="http://schemas.openxmlformats.org/officeDocument/2006/relationships/tags" Target="../tags/tag62.xml"/><Relationship Id="rId59" Type="http://schemas.openxmlformats.org/officeDocument/2006/relationships/oleObject" Target="../embeddings/oleObject5.bin"/><Relationship Id="rId67" Type="http://schemas.openxmlformats.org/officeDocument/2006/relationships/image" Target="../media/image10.svg"/><Relationship Id="rId20" Type="http://schemas.openxmlformats.org/officeDocument/2006/relationships/tags" Target="../tags/tag36.xml"/><Relationship Id="rId41" Type="http://schemas.openxmlformats.org/officeDocument/2006/relationships/tags" Target="../tags/tag57.xml"/><Relationship Id="rId54" Type="http://schemas.openxmlformats.org/officeDocument/2006/relationships/tags" Target="../tags/tag70.xml"/><Relationship Id="rId62" Type="http://schemas.openxmlformats.org/officeDocument/2006/relationships/image" Target="../media/image5.png"/><Relationship Id="rId70" Type="http://schemas.openxmlformats.org/officeDocument/2006/relationships/image" Target="../media/image15.png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49" Type="http://schemas.openxmlformats.org/officeDocument/2006/relationships/tags" Target="../tags/tag65.xml"/><Relationship Id="rId57" Type="http://schemas.openxmlformats.org/officeDocument/2006/relationships/tags" Target="../tags/tag73.xml"/><Relationship Id="rId10" Type="http://schemas.openxmlformats.org/officeDocument/2006/relationships/tags" Target="../tags/tag26.xml"/><Relationship Id="rId31" Type="http://schemas.openxmlformats.org/officeDocument/2006/relationships/tags" Target="../tags/tag47.xml"/><Relationship Id="rId44" Type="http://schemas.openxmlformats.org/officeDocument/2006/relationships/tags" Target="../tags/tag60.xml"/><Relationship Id="rId52" Type="http://schemas.openxmlformats.org/officeDocument/2006/relationships/tags" Target="../tags/tag68.xml"/><Relationship Id="rId60" Type="http://schemas.openxmlformats.org/officeDocument/2006/relationships/image" Target="../media/image1.emf"/><Relationship Id="rId65" Type="http://schemas.openxmlformats.org/officeDocument/2006/relationships/image" Target="../media/image8.sv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9" Type="http://schemas.openxmlformats.org/officeDocument/2006/relationships/tags" Target="../tags/tag55.xml"/><Relationship Id="rId34" Type="http://schemas.openxmlformats.org/officeDocument/2006/relationships/tags" Target="../tags/tag50.xml"/><Relationship Id="rId50" Type="http://schemas.openxmlformats.org/officeDocument/2006/relationships/tags" Target="../tags/tag66.xml"/><Relationship Id="rId55" Type="http://schemas.openxmlformats.org/officeDocument/2006/relationships/tags" Target="../tags/tag7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14/relationships/chartEx" Target="../charts/chartEx4.xml"/><Relationship Id="rId13" Type="http://schemas.openxmlformats.org/officeDocument/2006/relationships/image" Target="../media/image8.svg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png"/><Relationship Id="rId12" Type="http://schemas.openxmlformats.org/officeDocument/2006/relationships/image" Target="../media/image7.png"/><Relationship Id="rId17" Type="http://schemas.openxmlformats.org/officeDocument/2006/relationships/image" Target="../media/image13.png"/><Relationship Id="rId2" Type="http://schemas.openxmlformats.org/officeDocument/2006/relationships/tags" Target="../tags/tag74.xml"/><Relationship Id="rId16" Type="http://schemas.openxmlformats.org/officeDocument/2006/relationships/image" Target="../media/image12.jpe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6.vml"/><Relationship Id="rId6" Type="http://schemas.microsoft.com/office/2014/relationships/chartEx" Target="../charts/chartEx3.xml"/><Relationship Id="rId11" Type="http://schemas.openxmlformats.org/officeDocument/2006/relationships/image" Target="../media/image6.svg"/><Relationship Id="rId5" Type="http://schemas.openxmlformats.org/officeDocument/2006/relationships/image" Target="../media/image1.emf"/><Relationship Id="rId15" Type="http://schemas.openxmlformats.org/officeDocument/2006/relationships/image" Target="../media/image10.svg"/><Relationship Id="rId10" Type="http://schemas.openxmlformats.org/officeDocument/2006/relationships/image" Target="../media/image5.png"/><Relationship Id="rId19" Type="http://schemas.openxmlformats.org/officeDocument/2006/relationships/image" Target="../media/image1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9.png"/><Relationship Id="rId1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99.xml"/><Relationship Id="rId21" Type="http://schemas.openxmlformats.org/officeDocument/2006/relationships/tags" Target="../tags/tag94.xml"/><Relationship Id="rId42" Type="http://schemas.openxmlformats.org/officeDocument/2006/relationships/tags" Target="../tags/tag115.xml"/><Relationship Id="rId47" Type="http://schemas.openxmlformats.org/officeDocument/2006/relationships/tags" Target="../tags/tag120.xml"/><Relationship Id="rId63" Type="http://schemas.openxmlformats.org/officeDocument/2006/relationships/tags" Target="../tags/tag136.xml"/><Relationship Id="rId68" Type="http://schemas.openxmlformats.org/officeDocument/2006/relationships/tags" Target="../tags/tag141.xml"/><Relationship Id="rId84" Type="http://schemas.openxmlformats.org/officeDocument/2006/relationships/image" Target="../media/image10.svg"/><Relationship Id="rId89" Type="http://schemas.openxmlformats.org/officeDocument/2006/relationships/image" Target="../media/image16.svg"/><Relationship Id="rId16" Type="http://schemas.openxmlformats.org/officeDocument/2006/relationships/tags" Target="../tags/tag89.xml"/><Relationship Id="rId11" Type="http://schemas.openxmlformats.org/officeDocument/2006/relationships/tags" Target="../tags/tag84.xml"/><Relationship Id="rId32" Type="http://schemas.openxmlformats.org/officeDocument/2006/relationships/tags" Target="../tags/tag105.xml"/><Relationship Id="rId37" Type="http://schemas.openxmlformats.org/officeDocument/2006/relationships/tags" Target="../tags/tag110.xml"/><Relationship Id="rId53" Type="http://schemas.openxmlformats.org/officeDocument/2006/relationships/tags" Target="../tags/tag126.xml"/><Relationship Id="rId58" Type="http://schemas.openxmlformats.org/officeDocument/2006/relationships/tags" Target="../tags/tag131.xml"/><Relationship Id="rId74" Type="http://schemas.openxmlformats.org/officeDocument/2006/relationships/slideLayout" Target="../slideLayouts/slideLayout1.xml"/><Relationship Id="rId79" Type="http://schemas.openxmlformats.org/officeDocument/2006/relationships/image" Target="../media/image5.png"/><Relationship Id="rId5" Type="http://schemas.openxmlformats.org/officeDocument/2006/relationships/tags" Target="../tags/tag78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tags" Target="../tags/tag100.xml"/><Relationship Id="rId30" Type="http://schemas.openxmlformats.org/officeDocument/2006/relationships/tags" Target="../tags/tag103.xml"/><Relationship Id="rId35" Type="http://schemas.openxmlformats.org/officeDocument/2006/relationships/tags" Target="../tags/tag108.xml"/><Relationship Id="rId43" Type="http://schemas.openxmlformats.org/officeDocument/2006/relationships/tags" Target="../tags/tag116.xml"/><Relationship Id="rId48" Type="http://schemas.openxmlformats.org/officeDocument/2006/relationships/tags" Target="../tags/tag121.xml"/><Relationship Id="rId56" Type="http://schemas.openxmlformats.org/officeDocument/2006/relationships/tags" Target="../tags/tag129.xml"/><Relationship Id="rId64" Type="http://schemas.openxmlformats.org/officeDocument/2006/relationships/tags" Target="../tags/tag137.xml"/><Relationship Id="rId69" Type="http://schemas.openxmlformats.org/officeDocument/2006/relationships/tags" Target="../tags/tag142.xml"/><Relationship Id="rId77" Type="http://schemas.openxmlformats.org/officeDocument/2006/relationships/chart" Target="../charts/chart5.xml"/><Relationship Id="rId8" Type="http://schemas.openxmlformats.org/officeDocument/2006/relationships/tags" Target="../tags/tag81.xml"/><Relationship Id="rId51" Type="http://schemas.openxmlformats.org/officeDocument/2006/relationships/tags" Target="../tags/tag124.xml"/><Relationship Id="rId72" Type="http://schemas.openxmlformats.org/officeDocument/2006/relationships/tags" Target="../tags/tag145.xml"/><Relationship Id="rId80" Type="http://schemas.openxmlformats.org/officeDocument/2006/relationships/image" Target="../media/image6.svg"/><Relationship Id="rId85" Type="http://schemas.openxmlformats.org/officeDocument/2006/relationships/image" Target="../media/image12.jpeg"/><Relationship Id="rId3" Type="http://schemas.openxmlformats.org/officeDocument/2006/relationships/tags" Target="../tags/tag76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tags" Target="../tags/tag98.xml"/><Relationship Id="rId33" Type="http://schemas.openxmlformats.org/officeDocument/2006/relationships/tags" Target="../tags/tag106.xml"/><Relationship Id="rId38" Type="http://schemas.openxmlformats.org/officeDocument/2006/relationships/tags" Target="../tags/tag111.xml"/><Relationship Id="rId46" Type="http://schemas.openxmlformats.org/officeDocument/2006/relationships/tags" Target="../tags/tag119.xml"/><Relationship Id="rId59" Type="http://schemas.openxmlformats.org/officeDocument/2006/relationships/tags" Target="../tags/tag132.xml"/><Relationship Id="rId67" Type="http://schemas.openxmlformats.org/officeDocument/2006/relationships/tags" Target="../tags/tag140.xml"/><Relationship Id="rId20" Type="http://schemas.openxmlformats.org/officeDocument/2006/relationships/tags" Target="../tags/tag93.xml"/><Relationship Id="rId41" Type="http://schemas.openxmlformats.org/officeDocument/2006/relationships/tags" Target="../tags/tag114.xml"/><Relationship Id="rId54" Type="http://schemas.openxmlformats.org/officeDocument/2006/relationships/tags" Target="../tags/tag127.xml"/><Relationship Id="rId62" Type="http://schemas.openxmlformats.org/officeDocument/2006/relationships/tags" Target="../tags/tag135.xml"/><Relationship Id="rId70" Type="http://schemas.openxmlformats.org/officeDocument/2006/relationships/tags" Target="../tags/tag143.xml"/><Relationship Id="rId75" Type="http://schemas.openxmlformats.org/officeDocument/2006/relationships/oleObject" Target="../embeddings/oleObject7.bin"/><Relationship Id="rId83" Type="http://schemas.openxmlformats.org/officeDocument/2006/relationships/image" Target="../media/image9.png"/><Relationship Id="rId88" Type="http://schemas.openxmlformats.org/officeDocument/2006/relationships/image" Target="../media/image15.png"/><Relationship Id="rId1" Type="http://schemas.openxmlformats.org/officeDocument/2006/relationships/vmlDrawing" Target="../drawings/vmlDrawing7.vml"/><Relationship Id="rId6" Type="http://schemas.openxmlformats.org/officeDocument/2006/relationships/tags" Target="../tags/tag79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tags" Target="../tags/tag101.xml"/><Relationship Id="rId36" Type="http://schemas.openxmlformats.org/officeDocument/2006/relationships/tags" Target="../tags/tag109.xml"/><Relationship Id="rId49" Type="http://schemas.openxmlformats.org/officeDocument/2006/relationships/tags" Target="../tags/tag122.xml"/><Relationship Id="rId57" Type="http://schemas.openxmlformats.org/officeDocument/2006/relationships/tags" Target="../tags/tag130.xml"/><Relationship Id="rId10" Type="http://schemas.openxmlformats.org/officeDocument/2006/relationships/tags" Target="../tags/tag83.xml"/><Relationship Id="rId31" Type="http://schemas.openxmlformats.org/officeDocument/2006/relationships/tags" Target="../tags/tag104.xml"/><Relationship Id="rId44" Type="http://schemas.openxmlformats.org/officeDocument/2006/relationships/tags" Target="../tags/tag117.xml"/><Relationship Id="rId52" Type="http://schemas.openxmlformats.org/officeDocument/2006/relationships/tags" Target="../tags/tag125.xml"/><Relationship Id="rId60" Type="http://schemas.openxmlformats.org/officeDocument/2006/relationships/tags" Target="../tags/tag133.xml"/><Relationship Id="rId65" Type="http://schemas.openxmlformats.org/officeDocument/2006/relationships/tags" Target="../tags/tag138.xml"/><Relationship Id="rId73" Type="http://schemas.openxmlformats.org/officeDocument/2006/relationships/tags" Target="../tags/tag146.xml"/><Relationship Id="rId78" Type="http://schemas.openxmlformats.org/officeDocument/2006/relationships/chart" Target="../charts/chart6.xml"/><Relationship Id="rId81" Type="http://schemas.openxmlformats.org/officeDocument/2006/relationships/image" Target="../media/image7.png"/><Relationship Id="rId86" Type="http://schemas.openxmlformats.org/officeDocument/2006/relationships/image" Target="../media/image13.png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39" Type="http://schemas.openxmlformats.org/officeDocument/2006/relationships/tags" Target="../tags/tag112.xml"/><Relationship Id="rId34" Type="http://schemas.openxmlformats.org/officeDocument/2006/relationships/tags" Target="../tags/tag107.xml"/><Relationship Id="rId50" Type="http://schemas.openxmlformats.org/officeDocument/2006/relationships/tags" Target="../tags/tag123.xml"/><Relationship Id="rId55" Type="http://schemas.openxmlformats.org/officeDocument/2006/relationships/tags" Target="../tags/tag128.xml"/><Relationship Id="rId76" Type="http://schemas.openxmlformats.org/officeDocument/2006/relationships/image" Target="../media/image1.emf"/><Relationship Id="rId7" Type="http://schemas.openxmlformats.org/officeDocument/2006/relationships/tags" Target="../tags/tag80.xml"/><Relationship Id="rId71" Type="http://schemas.openxmlformats.org/officeDocument/2006/relationships/tags" Target="../tags/tag144.xml"/><Relationship Id="rId2" Type="http://schemas.openxmlformats.org/officeDocument/2006/relationships/tags" Target="../tags/tag75.xml"/><Relationship Id="rId29" Type="http://schemas.openxmlformats.org/officeDocument/2006/relationships/tags" Target="../tags/tag102.xml"/><Relationship Id="rId24" Type="http://schemas.openxmlformats.org/officeDocument/2006/relationships/tags" Target="../tags/tag97.xml"/><Relationship Id="rId40" Type="http://schemas.openxmlformats.org/officeDocument/2006/relationships/tags" Target="../tags/tag113.xml"/><Relationship Id="rId45" Type="http://schemas.openxmlformats.org/officeDocument/2006/relationships/tags" Target="../tags/tag118.xml"/><Relationship Id="rId66" Type="http://schemas.openxmlformats.org/officeDocument/2006/relationships/tags" Target="../tags/tag139.xml"/><Relationship Id="rId87" Type="http://schemas.openxmlformats.org/officeDocument/2006/relationships/image" Target="../media/image14.png"/><Relationship Id="rId61" Type="http://schemas.openxmlformats.org/officeDocument/2006/relationships/tags" Target="../tags/tag134.xml"/><Relationship Id="rId82" Type="http://schemas.openxmlformats.org/officeDocument/2006/relationships/image" Target="../media/image8.svg"/><Relationship Id="rId19" Type="http://schemas.openxmlformats.org/officeDocument/2006/relationships/tags" Target="../tags/tag9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svg"/><Relationship Id="rId12" Type="http://schemas.openxmlformats.org/officeDocument/2006/relationships/image" Target="../media/image11.jpeg"/><Relationship Id="rId2" Type="http://schemas.openxmlformats.org/officeDocument/2006/relationships/tags" Target="../tags/tag14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svg"/><Relationship Id="rId14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svg"/><Relationship Id="rId12" Type="http://schemas.openxmlformats.org/officeDocument/2006/relationships/image" Target="../media/image12.jpeg"/><Relationship Id="rId2" Type="http://schemas.openxmlformats.org/officeDocument/2006/relationships/tags" Target="../tags/tag148.xml"/><Relationship Id="rId16" Type="http://schemas.openxmlformats.org/officeDocument/2006/relationships/image" Target="../media/image16.svg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.sv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C52CA5-431B-471B-9421-6480BB34C5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8232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16" imgH="423" progId="TCLayout.ActiveDocument.1">
                  <p:embed/>
                </p:oleObj>
              </mc:Choice>
              <mc:Fallback>
                <p:oleObj name="think-cell Slide" r:id="rId4" imgW="416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C52CA5-431B-471B-9421-6480BB34C5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2F528B-1A7E-486B-B57C-174180AA2A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r-FR"/>
              <a:t>Analyses of migration impact</a:t>
            </a:r>
          </a:p>
        </p:txBody>
      </p:sp>
    </p:spTree>
    <p:extLst>
      <p:ext uri="{BB962C8B-B14F-4D97-AF65-F5344CB8AC3E}">
        <p14:creationId xmlns:p14="http://schemas.microsoft.com/office/powerpoint/2010/main" val="75366492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AAA3A35-C6B3-4EE6-9406-A3DBC2CB72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AAA3A35-C6B3-4EE6-9406-A3DBC2CB7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DA14E9-D9F6-4D44-A466-BF298653DD7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GB" sz="1600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FC6C6C-155F-4C1A-890E-114863D14568}"/>
              </a:ext>
            </a:extLst>
          </p:cNvPr>
          <p:cNvSpPr/>
          <p:nvPr/>
        </p:nvSpPr>
        <p:spPr bwMode="auto">
          <a:xfrm>
            <a:off x="227902" y="914401"/>
            <a:ext cx="9450000" cy="55132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0953E26-7813-417B-AC0B-7AC74C77D7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274" y="6580025"/>
            <a:ext cx="4005503" cy="244800"/>
          </a:xfrm>
        </p:spPr>
        <p:txBody>
          <a:bodyPr/>
          <a:lstStyle/>
          <a:p>
            <a:r>
              <a:rPr lang="en-GB"/>
              <a:t>Sources: eleven research &amp; analysis, company data, interviews with management</a:t>
            </a:r>
          </a:p>
          <a:p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85B0421-5BDB-4848-914A-867C2D466E74}"/>
              </a:ext>
            </a:extLst>
          </p:cNvPr>
          <p:cNvSpPr/>
          <p:nvPr/>
        </p:nvSpPr>
        <p:spPr bwMode="auto">
          <a:xfrm>
            <a:off x="525863" y="912961"/>
            <a:ext cx="3873438" cy="4307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</a:rPr>
              <a:t>Altares</a:t>
            </a:r>
            <a:r>
              <a:rPr lang="en-GB" sz="1000" b="1" i="1">
                <a:latin typeface="Trebuchet MS" panose="020B0603020202020204" pitchFamily="34" charset="0"/>
              </a:rPr>
              <a:t>’ billing in France for Credit &amp; financial risk products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34" name="Titre 1">
            <a:extLst>
              <a:ext uri="{FF2B5EF4-FFF2-40B4-BE49-F238E27FC236}">
                <a16:creationId xmlns:a16="http://schemas.microsoft.com/office/drawing/2014/main" id="{E4C834B3-8C96-4B4D-A3B2-401C953956D3}"/>
              </a:ext>
            </a:extLst>
          </p:cNvPr>
          <p:cNvSpPr txBox="1">
            <a:spLocks/>
          </p:cNvSpPr>
          <p:nvPr/>
        </p:nvSpPr>
        <p:spPr bwMode="auto">
          <a:xfrm>
            <a:off x="216000" y="147600"/>
            <a:ext cx="8230753" cy="480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en-GB" sz="1600" err="1">
                <a:latin typeface="Trebuchet MS" pitchFamily="34" charset="0"/>
              </a:rPr>
              <a:t>Altares</a:t>
            </a:r>
            <a:r>
              <a:rPr lang="en-GB" sz="1600">
                <a:latin typeface="Trebuchet MS" pitchFamily="34" charset="0"/>
              </a:rPr>
              <a:t> has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rationalized its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Credit &amp; financial risk products portfolio </a:t>
            </a:r>
            <a:r>
              <a:rPr lang="en-GB" sz="1600">
                <a:latin typeface="Trebuchet MS" pitchFamily="34" charset="0"/>
              </a:rPr>
              <a:t>by a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forced decommissioning </a:t>
            </a:r>
            <a:r>
              <a:rPr lang="en-GB" sz="1600">
                <a:latin typeface="Trebuchet MS" pitchFamily="34" charset="0"/>
              </a:rPr>
              <a:t>in 2020 that caused a negative revenue impact</a:t>
            </a:r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1FDEDE9-E5E2-4EBC-A5B8-4EEF0C822E21}"/>
              </a:ext>
            </a:extLst>
          </p:cNvPr>
          <p:cNvSpPr/>
          <p:nvPr/>
        </p:nvSpPr>
        <p:spPr bwMode="auto">
          <a:xfrm>
            <a:off x="6260891" y="912961"/>
            <a:ext cx="3383217" cy="4307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</a:rPr>
              <a:t>Altares</a:t>
            </a:r>
            <a:r>
              <a:rPr lang="en-GB" sz="1000" b="1" i="1">
                <a:latin typeface="Trebuchet MS" panose="020B0603020202020204" pitchFamily="34" charset="0"/>
              </a:rPr>
              <a:t>’ bookings in Benelux for Credit &amp; financial risk products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A9EDD84F-41F5-40A2-880E-7FC6BA6696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434820"/>
              </p:ext>
            </p:extLst>
          </p:nvPr>
        </p:nvGraphicFramePr>
        <p:xfrm>
          <a:off x="5590046" y="1330992"/>
          <a:ext cx="3978754" cy="3237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89" name="Group 4">
            <a:extLst>
              <a:ext uri="{FF2B5EF4-FFF2-40B4-BE49-F238E27FC236}">
                <a16:creationId xmlns:a16="http://schemas.microsoft.com/office/drawing/2014/main" id="{B13B303F-29E4-47B3-AFC8-1E61FB51F0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10082" y="4757081"/>
            <a:ext cx="226868" cy="184867"/>
            <a:chOff x="788" y="869"/>
            <a:chExt cx="740" cy="603"/>
          </a:xfrm>
          <a:solidFill>
            <a:schemeClr val="tx1"/>
          </a:solidFill>
        </p:grpSpPr>
        <p:sp>
          <p:nvSpPr>
            <p:cNvPr id="190" name="Freeform 5">
              <a:extLst>
                <a:ext uri="{FF2B5EF4-FFF2-40B4-BE49-F238E27FC236}">
                  <a16:creationId xmlns:a16="http://schemas.microsoft.com/office/drawing/2014/main" id="{13B91938-DA88-445B-96FC-2C15A9EC9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8" y="869"/>
              <a:ext cx="740" cy="603"/>
            </a:xfrm>
            <a:custGeom>
              <a:avLst/>
              <a:gdLst>
                <a:gd name="T0" fmla="*/ 648 w 740"/>
                <a:gd name="T1" fmla="*/ 93 h 603"/>
                <a:gd name="T2" fmla="*/ 648 w 740"/>
                <a:gd name="T3" fmla="*/ 0 h 603"/>
                <a:gd name="T4" fmla="*/ 0 w 740"/>
                <a:gd name="T5" fmla="*/ 0 h 603"/>
                <a:gd name="T6" fmla="*/ 0 w 740"/>
                <a:gd name="T7" fmla="*/ 510 h 603"/>
                <a:gd name="T8" fmla="*/ 93 w 740"/>
                <a:gd name="T9" fmla="*/ 510 h 603"/>
                <a:gd name="T10" fmla="*/ 93 w 740"/>
                <a:gd name="T11" fmla="*/ 603 h 603"/>
                <a:gd name="T12" fmla="*/ 278 w 740"/>
                <a:gd name="T13" fmla="*/ 603 h 603"/>
                <a:gd name="T14" fmla="*/ 278 w 740"/>
                <a:gd name="T15" fmla="*/ 557 h 603"/>
                <a:gd name="T16" fmla="*/ 324 w 740"/>
                <a:gd name="T17" fmla="*/ 557 h 603"/>
                <a:gd name="T18" fmla="*/ 324 w 740"/>
                <a:gd name="T19" fmla="*/ 603 h 603"/>
                <a:gd name="T20" fmla="*/ 509 w 740"/>
                <a:gd name="T21" fmla="*/ 603 h 603"/>
                <a:gd name="T22" fmla="*/ 509 w 740"/>
                <a:gd name="T23" fmla="*/ 557 h 603"/>
                <a:gd name="T24" fmla="*/ 555 w 740"/>
                <a:gd name="T25" fmla="*/ 557 h 603"/>
                <a:gd name="T26" fmla="*/ 555 w 740"/>
                <a:gd name="T27" fmla="*/ 603 h 603"/>
                <a:gd name="T28" fmla="*/ 740 w 740"/>
                <a:gd name="T29" fmla="*/ 603 h 603"/>
                <a:gd name="T30" fmla="*/ 740 w 740"/>
                <a:gd name="T31" fmla="*/ 93 h 603"/>
                <a:gd name="T32" fmla="*/ 648 w 740"/>
                <a:gd name="T33" fmla="*/ 93 h 603"/>
                <a:gd name="T34" fmla="*/ 93 w 740"/>
                <a:gd name="T35" fmla="*/ 464 h 603"/>
                <a:gd name="T36" fmla="*/ 46 w 740"/>
                <a:gd name="T37" fmla="*/ 464 h 603"/>
                <a:gd name="T38" fmla="*/ 46 w 740"/>
                <a:gd name="T39" fmla="*/ 47 h 603"/>
                <a:gd name="T40" fmla="*/ 601 w 740"/>
                <a:gd name="T41" fmla="*/ 47 h 603"/>
                <a:gd name="T42" fmla="*/ 601 w 740"/>
                <a:gd name="T43" fmla="*/ 93 h 603"/>
                <a:gd name="T44" fmla="*/ 93 w 740"/>
                <a:gd name="T45" fmla="*/ 93 h 603"/>
                <a:gd name="T46" fmla="*/ 93 w 740"/>
                <a:gd name="T47" fmla="*/ 464 h 603"/>
                <a:gd name="T48" fmla="*/ 694 w 740"/>
                <a:gd name="T49" fmla="*/ 557 h 603"/>
                <a:gd name="T50" fmla="*/ 601 w 740"/>
                <a:gd name="T51" fmla="*/ 557 h 603"/>
                <a:gd name="T52" fmla="*/ 601 w 740"/>
                <a:gd name="T53" fmla="*/ 510 h 603"/>
                <a:gd name="T54" fmla="*/ 463 w 740"/>
                <a:gd name="T55" fmla="*/ 510 h 603"/>
                <a:gd name="T56" fmla="*/ 463 w 740"/>
                <a:gd name="T57" fmla="*/ 557 h 603"/>
                <a:gd name="T58" fmla="*/ 370 w 740"/>
                <a:gd name="T59" fmla="*/ 557 h 603"/>
                <a:gd name="T60" fmla="*/ 370 w 740"/>
                <a:gd name="T61" fmla="*/ 510 h 603"/>
                <a:gd name="T62" fmla="*/ 231 w 740"/>
                <a:gd name="T63" fmla="*/ 510 h 603"/>
                <a:gd name="T64" fmla="*/ 231 w 740"/>
                <a:gd name="T65" fmla="*/ 557 h 603"/>
                <a:gd name="T66" fmla="*/ 139 w 740"/>
                <a:gd name="T67" fmla="*/ 557 h 603"/>
                <a:gd name="T68" fmla="*/ 139 w 740"/>
                <a:gd name="T69" fmla="*/ 139 h 603"/>
                <a:gd name="T70" fmla="*/ 694 w 740"/>
                <a:gd name="T71" fmla="*/ 139 h 603"/>
                <a:gd name="T72" fmla="*/ 694 w 740"/>
                <a:gd name="T73" fmla="*/ 557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0" h="603">
                  <a:moveTo>
                    <a:pt x="648" y="93"/>
                  </a:moveTo>
                  <a:lnTo>
                    <a:pt x="648" y="0"/>
                  </a:lnTo>
                  <a:lnTo>
                    <a:pt x="0" y="0"/>
                  </a:lnTo>
                  <a:lnTo>
                    <a:pt x="0" y="510"/>
                  </a:lnTo>
                  <a:lnTo>
                    <a:pt x="93" y="510"/>
                  </a:lnTo>
                  <a:lnTo>
                    <a:pt x="93" y="603"/>
                  </a:lnTo>
                  <a:lnTo>
                    <a:pt x="278" y="603"/>
                  </a:lnTo>
                  <a:lnTo>
                    <a:pt x="278" y="557"/>
                  </a:lnTo>
                  <a:lnTo>
                    <a:pt x="324" y="557"/>
                  </a:lnTo>
                  <a:lnTo>
                    <a:pt x="324" y="603"/>
                  </a:lnTo>
                  <a:lnTo>
                    <a:pt x="509" y="603"/>
                  </a:lnTo>
                  <a:lnTo>
                    <a:pt x="509" y="557"/>
                  </a:lnTo>
                  <a:lnTo>
                    <a:pt x="555" y="557"/>
                  </a:lnTo>
                  <a:lnTo>
                    <a:pt x="555" y="603"/>
                  </a:lnTo>
                  <a:lnTo>
                    <a:pt x="740" y="603"/>
                  </a:lnTo>
                  <a:lnTo>
                    <a:pt x="740" y="93"/>
                  </a:lnTo>
                  <a:lnTo>
                    <a:pt x="648" y="93"/>
                  </a:lnTo>
                  <a:close/>
                  <a:moveTo>
                    <a:pt x="93" y="464"/>
                  </a:moveTo>
                  <a:lnTo>
                    <a:pt x="46" y="464"/>
                  </a:lnTo>
                  <a:lnTo>
                    <a:pt x="46" y="47"/>
                  </a:lnTo>
                  <a:lnTo>
                    <a:pt x="601" y="47"/>
                  </a:lnTo>
                  <a:lnTo>
                    <a:pt x="601" y="93"/>
                  </a:lnTo>
                  <a:lnTo>
                    <a:pt x="93" y="93"/>
                  </a:lnTo>
                  <a:lnTo>
                    <a:pt x="93" y="464"/>
                  </a:lnTo>
                  <a:close/>
                  <a:moveTo>
                    <a:pt x="694" y="557"/>
                  </a:moveTo>
                  <a:lnTo>
                    <a:pt x="601" y="557"/>
                  </a:lnTo>
                  <a:lnTo>
                    <a:pt x="601" y="510"/>
                  </a:lnTo>
                  <a:lnTo>
                    <a:pt x="463" y="510"/>
                  </a:lnTo>
                  <a:lnTo>
                    <a:pt x="463" y="557"/>
                  </a:lnTo>
                  <a:lnTo>
                    <a:pt x="370" y="557"/>
                  </a:lnTo>
                  <a:lnTo>
                    <a:pt x="370" y="510"/>
                  </a:lnTo>
                  <a:lnTo>
                    <a:pt x="231" y="510"/>
                  </a:lnTo>
                  <a:lnTo>
                    <a:pt x="231" y="557"/>
                  </a:lnTo>
                  <a:lnTo>
                    <a:pt x="139" y="557"/>
                  </a:lnTo>
                  <a:lnTo>
                    <a:pt x="139" y="139"/>
                  </a:lnTo>
                  <a:lnTo>
                    <a:pt x="694" y="139"/>
                  </a:lnTo>
                  <a:lnTo>
                    <a:pt x="694" y="5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Rectangle 6">
              <a:extLst>
                <a:ext uri="{FF2B5EF4-FFF2-40B4-BE49-F238E27FC236}">
                  <a16:creationId xmlns:a16="http://schemas.microsoft.com/office/drawing/2014/main" id="{CD11B9F3-4454-4F15-8396-EA6CA394C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" y="1101"/>
              <a:ext cx="185" cy="18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Rectangle 7">
              <a:extLst>
                <a:ext uri="{FF2B5EF4-FFF2-40B4-BE49-F238E27FC236}">
                  <a16:creationId xmlns:a16="http://schemas.microsoft.com/office/drawing/2014/main" id="{8A29BADD-28B5-4907-9A62-B1BD26EC4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" y="1101"/>
              <a:ext cx="185" cy="4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Rectangle 8">
              <a:extLst>
                <a:ext uri="{FF2B5EF4-FFF2-40B4-BE49-F238E27FC236}">
                  <a16:creationId xmlns:a16="http://schemas.microsoft.com/office/drawing/2014/main" id="{AD3937E5-73B9-4FB1-B8A6-86AC41FB6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" y="1194"/>
              <a:ext cx="139" cy="4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5BDDC62-1520-4FE8-A457-FD055F57896B}"/>
              </a:ext>
            </a:extLst>
          </p:cNvPr>
          <p:cNvSpPr/>
          <p:nvPr/>
        </p:nvSpPr>
        <p:spPr bwMode="auto">
          <a:xfrm>
            <a:off x="317562" y="4719600"/>
            <a:ext cx="9251238" cy="16017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</a:pPr>
            <a:r>
              <a:rPr lang="en-GB" sz="1000">
                <a:latin typeface="Trebuchet MS" pitchFamily="34" charset="0"/>
              </a:rPr>
              <a:t>Comments</a:t>
            </a: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solidFill>
                  <a:schemeClr val="tx2"/>
                </a:solidFill>
                <a:effectLst/>
                <a:latin typeface="Trebuchet MS" pitchFamily="34" charset="0"/>
                <a:ea typeface="Calibri" panose="020F0502020204030204" pitchFamily="34" charset="0"/>
                <a:cs typeface="Arial" panose="020B0604020202020204" pitchFamily="34" charset="0"/>
              </a:rPr>
              <a:t>DBAI and </a:t>
            </a:r>
            <a:r>
              <a:rPr lang="en-GB" sz="1000" err="1">
                <a:solidFill>
                  <a:schemeClr val="tx2"/>
                </a:solidFill>
                <a:effectLst/>
                <a:latin typeface="Trebuchet MS" pitchFamily="34" charset="0"/>
                <a:ea typeface="Calibri" panose="020F0502020204030204" pitchFamily="34" charset="0"/>
                <a:cs typeface="Arial" panose="020B0604020202020204" pitchFamily="34" charset="0"/>
              </a:rPr>
              <a:t>DNBi</a:t>
            </a:r>
            <a:r>
              <a:rPr lang="en-GB" sz="1000">
                <a:solidFill>
                  <a:schemeClr val="tx2"/>
                </a:solidFill>
                <a:effectLst/>
                <a:latin typeface="Trebuchet MS" pitchFamily="34" charset="0"/>
                <a:ea typeface="Calibri" panose="020F0502020204030204" pitchFamily="34" charset="0"/>
                <a:cs typeface="Arial" panose="020B0604020202020204" pitchFamily="34" charset="0"/>
              </a:rPr>
              <a:t> risk products </a:t>
            </a:r>
            <a:r>
              <a:rPr lang="en-GB" sz="1000">
                <a:effectLst/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 been </a:t>
            </a:r>
            <a:r>
              <a:rPr lang="en-GB" sz="1000">
                <a:solidFill>
                  <a:schemeClr val="tx2"/>
                </a:solidFill>
                <a:effectLst/>
                <a:latin typeface="Trebuchet MS" pitchFamily="34" charset="0"/>
                <a:ea typeface="Calibri" panose="020F0502020204030204" pitchFamily="34" charset="0"/>
                <a:cs typeface="Arial" panose="020B0604020202020204" pitchFamily="34" charset="0"/>
              </a:rPr>
              <a:t>migrated towards D&amp;B Credit </a:t>
            </a:r>
            <a:r>
              <a:rPr lang="en-GB" sz="1000">
                <a:effectLst/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 two major effect in 2020:</a:t>
            </a:r>
          </a:p>
          <a:p>
            <a:pPr marL="628650" lvl="1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000">
                <a:latin typeface="Trebuchet MS" pitchFamily="34" charset="0"/>
                <a:ea typeface="Calibri" panose="020F0502020204030204" pitchFamily="34" charset="0"/>
              </a:rPr>
              <a:t>A strong </a:t>
            </a:r>
            <a:r>
              <a:rPr lang="en-GB" sz="1000">
                <a:solidFill>
                  <a:schemeClr val="tx2"/>
                </a:solidFill>
                <a:latin typeface="Trebuchet MS" pitchFamily="34" charset="0"/>
                <a:ea typeface="Calibri" panose="020F0502020204030204" pitchFamily="34" charset="0"/>
              </a:rPr>
              <a:t>negative impact on LFL </a:t>
            </a:r>
            <a:r>
              <a:rPr lang="en-GB" sz="1000">
                <a:latin typeface="Trebuchet MS" pitchFamily="34" charset="0"/>
                <a:ea typeface="Calibri" panose="020F0502020204030204" pitchFamily="34" charset="0"/>
              </a:rPr>
              <a:t>customers that were paying for old products without monitoring</a:t>
            </a:r>
          </a:p>
          <a:p>
            <a:pPr marL="628650" lvl="1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000">
                <a:effectLst/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 </a:t>
            </a:r>
            <a:r>
              <a:rPr lang="en-GB" sz="1000">
                <a:solidFill>
                  <a:schemeClr val="tx2"/>
                </a:solidFill>
                <a:effectLst/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reased churn as clients being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forced to change their subscription had an opportunity to look at other market solutions</a:t>
            </a:r>
          </a:p>
          <a:p>
            <a:pPr marL="171450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is negative impact entailed an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artificial decrease in the retention rate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for 2020</a:t>
            </a:r>
          </a:p>
          <a:p>
            <a:pPr marL="171450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total impact of the migration in 2019 is:</a:t>
            </a:r>
          </a:p>
          <a:p>
            <a:pPr marL="628650" lvl="1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€-3.5m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in Benelux</a:t>
            </a:r>
          </a:p>
          <a:p>
            <a:pPr marL="628650" lvl="1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-€700k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in France</a:t>
            </a:r>
          </a:p>
          <a:p>
            <a:pPr marL="628650" lvl="1" indent="-17145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000">
              <a:latin typeface="Trebuchet MS" panose="020B0603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7331F05-FF74-4FA1-B865-A812ECE4F24C}"/>
              </a:ext>
            </a:extLst>
          </p:cNvPr>
          <p:cNvSpPr/>
          <p:nvPr/>
        </p:nvSpPr>
        <p:spPr bwMode="auto">
          <a:xfrm>
            <a:off x="4402172" y="1330991"/>
            <a:ext cx="1115216" cy="281758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7" name="Rectangle : coins arrondis 199">
            <a:extLst>
              <a:ext uri="{FF2B5EF4-FFF2-40B4-BE49-F238E27FC236}">
                <a16:creationId xmlns:a16="http://schemas.microsoft.com/office/drawing/2014/main" id="{9BC0B343-DC1A-496C-A41B-EDEF84CFACED}"/>
              </a:ext>
            </a:extLst>
          </p:cNvPr>
          <p:cNvSpPr/>
          <p:nvPr/>
        </p:nvSpPr>
        <p:spPr bwMode="auto">
          <a:xfrm>
            <a:off x="8508412" y="196035"/>
            <a:ext cx="335598" cy="21213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8" name="Rectangle : coins arrondis 200">
            <a:extLst>
              <a:ext uri="{FF2B5EF4-FFF2-40B4-BE49-F238E27FC236}">
                <a16:creationId xmlns:a16="http://schemas.microsoft.com/office/drawing/2014/main" id="{7AC68D76-10A7-4544-A8E9-5C8DAF647A27}"/>
              </a:ext>
            </a:extLst>
          </p:cNvPr>
          <p:cNvSpPr/>
          <p:nvPr/>
        </p:nvSpPr>
        <p:spPr bwMode="auto">
          <a:xfrm>
            <a:off x="8923225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19" name="Rectangle : coins arrondis 201">
            <a:extLst>
              <a:ext uri="{FF2B5EF4-FFF2-40B4-BE49-F238E27FC236}">
                <a16:creationId xmlns:a16="http://schemas.microsoft.com/office/drawing/2014/main" id="{26886C10-A68C-418D-9588-30FDBBCEA9D5}"/>
              </a:ext>
            </a:extLst>
          </p:cNvPr>
          <p:cNvSpPr/>
          <p:nvPr/>
        </p:nvSpPr>
        <p:spPr bwMode="auto">
          <a:xfrm>
            <a:off x="9338038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0" name="ZoneTexte 18">
            <a:extLst>
              <a:ext uri="{FF2B5EF4-FFF2-40B4-BE49-F238E27FC236}">
                <a16:creationId xmlns:a16="http://schemas.microsoft.com/office/drawing/2014/main" id="{CCB67412-0A92-4AE4-9E48-9F7AB70B6108}"/>
              </a:ext>
            </a:extLst>
          </p:cNvPr>
          <p:cNvSpPr txBox="1"/>
          <p:nvPr/>
        </p:nvSpPr>
        <p:spPr>
          <a:xfrm>
            <a:off x="8448150" y="-11528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err="1">
                <a:solidFill>
                  <a:schemeClr val="tx2"/>
                </a:solidFill>
                <a:latin typeface="Trebuchet MS" panose="020B0603020202020204" pitchFamily="34" charset="0"/>
              </a:rPr>
              <a:t>Altares</a:t>
            </a:r>
            <a:r>
              <a:rPr lang="en-GB" sz="800">
                <a:solidFill>
                  <a:schemeClr val="tx2"/>
                </a:solidFill>
                <a:latin typeface="Trebuchet MS" panose="020B0603020202020204" pitchFamily="34" charset="0"/>
              </a:rPr>
              <a:t>’ offering</a:t>
            </a:r>
          </a:p>
        </p:txBody>
      </p:sp>
      <p:pic>
        <p:nvPicPr>
          <p:cNvPr id="121" name="Graphique 128" descr="Jauge">
            <a:extLst>
              <a:ext uri="{FF2B5EF4-FFF2-40B4-BE49-F238E27FC236}">
                <a16:creationId xmlns:a16="http://schemas.microsoft.com/office/drawing/2014/main" id="{8655F89D-9AD6-4297-90D8-3D40E265A2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3764" y="187516"/>
            <a:ext cx="234953" cy="218224"/>
          </a:xfrm>
          <a:prstGeom prst="rect">
            <a:avLst/>
          </a:prstGeom>
          <a:effectLst/>
        </p:spPr>
      </p:pic>
      <p:pic>
        <p:nvPicPr>
          <p:cNvPr id="122" name="Graphique 90" descr="Poignée de main">
            <a:extLst>
              <a:ext uri="{FF2B5EF4-FFF2-40B4-BE49-F238E27FC236}">
                <a16:creationId xmlns:a16="http://schemas.microsoft.com/office/drawing/2014/main" id="{DF384A9F-8332-4772-9053-E851542BFCF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60868" y="152880"/>
            <a:ext cx="256313" cy="287496"/>
          </a:xfrm>
          <a:prstGeom prst="rect">
            <a:avLst/>
          </a:prstGeom>
          <a:effectLst/>
        </p:spPr>
      </p:pic>
      <p:pic>
        <p:nvPicPr>
          <p:cNvPr id="123" name="Graphique 74" descr="Mégaphone">
            <a:extLst>
              <a:ext uri="{FF2B5EF4-FFF2-40B4-BE49-F238E27FC236}">
                <a16:creationId xmlns:a16="http://schemas.microsoft.com/office/drawing/2014/main" id="{320A9A77-CE65-438F-A7F0-059E046A29E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89331" y="181519"/>
            <a:ext cx="233011" cy="216420"/>
          </a:xfrm>
          <a:prstGeom prst="rect">
            <a:avLst/>
          </a:prstGeom>
          <a:effectLst/>
        </p:spPr>
      </p:pic>
      <p:pic>
        <p:nvPicPr>
          <p:cNvPr id="124" name="Picture 2" descr="Drapeau France">
            <a:extLst>
              <a:ext uri="{FF2B5EF4-FFF2-40B4-BE49-F238E27FC236}">
                <a16:creationId xmlns:a16="http://schemas.microsoft.com/office/drawing/2014/main" id="{5511732F-91F4-46A5-B93F-04DBF86AD8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6" b="16757"/>
          <a:stretch/>
        </p:blipFill>
        <p:spPr bwMode="auto">
          <a:xfrm>
            <a:off x="9703696" y="62893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125" name="Picture 2" descr="5 ft x 3 ft 150 x 90 cm-DRAPEAU BELGE Belgique 100% Polyester ...">
            <a:extLst>
              <a:ext uri="{FF2B5EF4-FFF2-40B4-BE49-F238E27FC236}">
                <a16:creationId xmlns:a16="http://schemas.microsoft.com/office/drawing/2014/main" id="{14FD1DCE-B0B7-45E1-95FC-14D25038F0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3"/>
          <a:stretch/>
        </p:blipFill>
        <p:spPr bwMode="auto">
          <a:xfrm>
            <a:off x="9704111" y="187304"/>
            <a:ext cx="17917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126" name="Picture 2 - 1" descr="Drapeau des Pays-Bas — Wikipédia">
            <a:extLst>
              <a:ext uri="{FF2B5EF4-FFF2-40B4-BE49-F238E27FC236}">
                <a16:creationId xmlns:a16="http://schemas.microsoft.com/office/drawing/2014/main" id="{5D817D25-AF54-4FAE-BCFB-7E643A2810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112" y="311715"/>
            <a:ext cx="179171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127" name="Picture 2 - 2" descr="Drapeau du Luxembourg">
            <a:extLst>
              <a:ext uri="{FF2B5EF4-FFF2-40B4-BE49-F238E27FC236}">
                <a16:creationId xmlns:a16="http://schemas.microsoft.com/office/drawing/2014/main" id="{297FBE2B-0E9F-4E8C-B3C6-5C1B509820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3696" y="436125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128" name="ZoneTexte 18">
            <a:extLst>
              <a:ext uri="{FF2B5EF4-FFF2-40B4-BE49-F238E27FC236}">
                <a16:creationId xmlns:a16="http://schemas.microsoft.com/office/drawing/2014/main" id="{9DBE7F3F-C910-41F1-BBED-7E0860D6AA4D}"/>
              </a:ext>
            </a:extLst>
          </p:cNvPr>
          <p:cNvSpPr txBox="1"/>
          <p:nvPr/>
        </p:nvSpPr>
        <p:spPr>
          <a:xfrm>
            <a:off x="8448150" y="361171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latin typeface="Trebuchet MS" panose="020B0603020202020204" pitchFamily="34" charset="0"/>
              </a:rPr>
              <a:t>Product dynamics</a:t>
            </a:r>
          </a:p>
        </p:txBody>
      </p:sp>
      <p:pic>
        <p:nvPicPr>
          <p:cNvPr id="129" name="Picture 2" descr="Drapeau France">
            <a:extLst>
              <a:ext uri="{FF2B5EF4-FFF2-40B4-BE49-F238E27FC236}">
                <a16:creationId xmlns:a16="http://schemas.microsoft.com/office/drawing/2014/main" id="{A0E38489-B25D-4AB9-9E87-157618A1E2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6" b="16757"/>
          <a:stretch/>
        </p:blipFill>
        <p:spPr bwMode="auto">
          <a:xfrm>
            <a:off x="336461" y="1006117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131" name="Picture 2" descr="5 ft x 3 ft 150 x 90 cm-DRAPEAU BELGE Belgique 100% Polyester ...">
            <a:extLst>
              <a:ext uri="{FF2B5EF4-FFF2-40B4-BE49-F238E27FC236}">
                <a16:creationId xmlns:a16="http://schemas.microsoft.com/office/drawing/2014/main" id="{E47A65BE-B699-447E-86E1-A8C0B2333F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3"/>
          <a:stretch/>
        </p:blipFill>
        <p:spPr bwMode="auto">
          <a:xfrm>
            <a:off x="5808970" y="1006117"/>
            <a:ext cx="17917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133" name="Picture 2 - 1" descr="Drapeau des Pays-Bas — Wikipédia">
            <a:extLst>
              <a:ext uri="{FF2B5EF4-FFF2-40B4-BE49-F238E27FC236}">
                <a16:creationId xmlns:a16="http://schemas.microsoft.com/office/drawing/2014/main" id="{D1C5418C-C454-49FE-A058-EF10BC967C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647" y="1006117"/>
            <a:ext cx="179171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134" name="Picture 2 - 2" descr="Drapeau du Luxembourg">
            <a:extLst>
              <a:ext uri="{FF2B5EF4-FFF2-40B4-BE49-F238E27FC236}">
                <a16:creationId xmlns:a16="http://schemas.microsoft.com/office/drawing/2014/main" id="{8F398D53-A41E-42E8-9188-978F30720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293" y="1006117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65AD2D0-924F-454E-AE09-E099D68A92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474138"/>
              </p:ext>
            </p:extLst>
          </p:nvPr>
        </p:nvGraphicFramePr>
        <p:xfrm>
          <a:off x="317562" y="1330992"/>
          <a:ext cx="3998394" cy="3237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pSp>
        <p:nvGrpSpPr>
          <p:cNvPr id="81" name="Group 4">
            <a:extLst>
              <a:ext uri="{FF2B5EF4-FFF2-40B4-BE49-F238E27FC236}">
                <a16:creationId xmlns:a16="http://schemas.microsoft.com/office/drawing/2014/main" id="{DD9C4F19-3259-49C2-9A3B-93B9FD6250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82485" y="4748579"/>
            <a:ext cx="226868" cy="184867"/>
            <a:chOff x="788" y="869"/>
            <a:chExt cx="740" cy="603"/>
          </a:xfrm>
          <a:solidFill>
            <a:schemeClr val="tx1"/>
          </a:solidFill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FD6C5ACF-B01F-4733-AD55-5207B40EC4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8" y="869"/>
              <a:ext cx="740" cy="603"/>
            </a:xfrm>
            <a:custGeom>
              <a:avLst/>
              <a:gdLst>
                <a:gd name="T0" fmla="*/ 648 w 740"/>
                <a:gd name="T1" fmla="*/ 93 h 603"/>
                <a:gd name="T2" fmla="*/ 648 w 740"/>
                <a:gd name="T3" fmla="*/ 0 h 603"/>
                <a:gd name="T4" fmla="*/ 0 w 740"/>
                <a:gd name="T5" fmla="*/ 0 h 603"/>
                <a:gd name="T6" fmla="*/ 0 w 740"/>
                <a:gd name="T7" fmla="*/ 510 h 603"/>
                <a:gd name="T8" fmla="*/ 93 w 740"/>
                <a:gd name="T9" fmla="*/ 510 h 603"/>
                <a:gd name="T10" fmla="*/ 93 w 740"/>
                <a:gd name="T11" fmla="*/ 603 h 603"/>
                <a:gd name="T12" fmla="*/ 278 w 740"/>
                <a:gd name="T13" fmla="*/ 603 h 603"/>
                <a:gd name="T14" fmla="*/ 278 w 740"/>
                <a:gd name="T15" fmla="*/ 557 h 603"/>
                <a:gd name="T16" fmla="*/ 324 w 740"/>
                <a:gd name="T17" fmla="*/ 557 h 603"/>
                <a:gd name="T18" fmla="*/ 324 w 740"/>
                <a:gd name="T19" fmla="*/ 603 h 603"/>
                <a:gd name="T20" fmla="*/ 509 w 740"/>
                <a:gd name="T21" fmla="*/ 603 h 603"/>
                <a:gd name="T22" fmla="*/ 509 w 740"/>
                <a:gd name="T23" fmla="*/ 557 h 603"/>
                <a:gd name="T24" fmla="*/ 555 w 740"/>
                <a:gd name="T25" fmla="*/ 557 h 603"/>
                <a:gd name="T26" fmla="*/ 555 w 740"/>
                <a:gd name="T27" fmla="*/ 603 h 603"/>
                <a:gd name="T28" fmla="*/ 740 w 740"/>
                <a:gd name="T29" fmla="*/ 603 h 603"/>
                <a:gd name="T30" fmla="*/ 740 w 740"/>
                <a:gd name="T31" fmla="*/ 93 h 603"/>
                <a:gd name="T32" fmla="*/ 648 w 740"/>
                <a:gd name="T33" fmla="*/ 93 h 603"/>
                <a:gd name="T34" fmla="*/ 93 w 740"/>
                <a:gd name="T35" fmla="*/ 464 h 603"/>
                <a:gd name="T36" fmla="*/ 46 w 740"/>
                <a:gd name="T37" fmla="*/ 464 h 603"/>
                <a:gd name="T38" fmla="*/ 46 w 740"/>
                <a:gd name="T39" fmla="*/ 47 h 603"/>
                <a:gd name="T40" fmla="*/ 601 w 740"/>
                <a:gd name="T41" fmla="*/ 47 h 603"/>
                <a:gd name="T42" fmla="*/ 601 w 740"/>
                <a:gd name="T43" fmla="*/ 93 h 603"/>
                <a:gd name="T44" fmla="*/ 93 w 740"/>
                <a:gd name="T45" fmla="*/ 93 h 603"/>
                <a:gd name="T46" fmla="*/ 93 w 740"/>
                <a:gd name="T47" fmla="*/ 464 h 603"/>
                <a:gd name="T48" fmla="*/ 694 w 740"/>
                <a:gd name="T49" fmla="*/ 557 h 603"/>
                <a:gd name="T50" fmla="*/ 601 w 740"/>
                <a:gd name="T51" fmla="*/ 557 h 603"/>
                <a:gd name="T52" fmla="*/ 601 w 740"/>
                <a:gd name="T53" fmla="*/ 510 h 603"/>
                <a:gd name="T54" fmla="*/ 463 w 740"/>
                <a:gd name="T55" fmla="*/ 510 h 603"/>
                <a:gd name="T56" fmla="*/ 463 w 740"/>
                <a:gd name="T57" fmla="*/ 557 h 603"/>
                <a:gd name="T58" fmla="*/ 370 w 740"/>
                <a:gd name="T59" fmla="*/ 557 h 603"/>
                <a:gd name="T60" fmla="*/ 370 w 740"/>
                <a:gd name="T61" fmla="*/ 510 h 603"/>
                <a:gd name="T62" fmla="*/ 231 w 740"/>
                <a:gd name="T63" fmla="*/ 510 h 603"/>
                <a:gd name="T64" fmla="*/ 231 w 740"/>
                <a:gd name="T65" fmla="*/ 557 h 603"/>
                <a:gd name="T66" fmla="*/ 139 w 740"/>
                <a:gd name="T67" fmla="*/ 557 h 603"/>
                <a:gd name="T68" fmla="*/ 139 w 740"/>
                <a:gd name="T69" fmla="*/ 139 h 603"/>
                <a:gd name="T70" fmla="*/ 694 w 740"/>
                <a:gd name="T71" fmla="*/ 139 h 603"/>
                <a:gd name="T72" fmla="*/ 694 w 740"/>
                <a:gd name="T73" fmla="*/ 557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0" h="603">
                  <a:moveTo>
                    <a:pt x="648" y="93"/>
                  </a:moveTo>
                  <a:lnTo>
                    <a:pt x="648" y="0"/>
                  </a:lnTo>
                  <a:lnTo>
                    <a:pt x="0" y="0"/>
                  </a:lnTo>
                  <a:lnTo>
                    <a:pt x="0" y="510"/>
                  </a:lnTo>
                  <a:lnTo>
                    <a:pt x="93" y="510"/>
                  </a:lnTo>
                  <a:lnTo>
                    <a:pt x="93" y="603"/>
                  </a:lnTo>
                  <a:lnTo>
                    <a:pt x="278" y="603"/>
                  </a:lnTo>
                  <a:lnTo>
                    <a:pt x="278" y="557"/>
                  </a:lnTo>
                  <a:lnTo>
                    <a:pt x="324" y="557"/>
                  </a:lnTo>
                  <a:lnTo>
                    <a:pt x="324" y="603"/>
                  </a:lnTo>
                  <a:lnTo>
                    <a:pt x="509" y="603"/>
                  </a:lnTo>
                  <a:lnTo>
                    <a:pt x="509" y="557"/>
                  </a:lnTo>
                  <a:lnTo>
                    <a:pt x="555" y="557"/>
                  </a:lnTo>
                  <a:lnTo>
                    <a:pt x="555" y="603"/>
                  </a:lnTo>
                  <a:lnTo>
                    <a:pt x="740" y="603"/>
                  </a:lnTo>
                  <a:lnTo>
                    <a:pt x="740" y="93"/>
                  </a:lnTo>
                  <a:lnTo>
                    <a:pt x="648" y="93"/>
                  </a:lnTo>
                  <a:close/>
                  <a:moveTo>
                    <a:pt x="93" y="464"/>
                  </a:moveTo>
                  <a:lnTo>
                    <a:pt x="46" y="464"/>
                  </a:lnTo>
                  <a:lnTo>
                    <a:pt x="46" y="47"/>
                  </a:lnTo>
                  <a:lnTo>
                    <a:pt x="601" y="47"/>
                  </a:lnTo>
                  <a:lnTo>
                    <a:pt x="601" y="93"/>
                  </a:lnTo>
                  <a:lnTo>
                    <a:pt x="93" y="93"/>
                  </a:lnTo>
                  <a:lnTo>
                    <a:pt x="93" y="464"/>
                  </a:lnTo>
                  <a:close/>
                  <a:moveTo>
                    <a:pt x="694" y="557"/>
                  </a:moveTo>
                  <a:lnTo>
                    <a:pt x="601" y="557"/>
                  </a:lnTo>
                  <a:lnTo>
                    <a:pt x="601" y="510"/>
                  </a:lnTo>
                  <a:lnTo>
                    <a:pt x="463" y="510"/>
                  </a:lnTo>
                  <a:lnTo>
                    <a:pt x="463" y="557"/>
                  </a:lnTo>
                  <a:lnTo>
                    <a:pt x="370" y="557"/>
                  </a:lnTo>
                  <a:lnTo>
                    <a:pt x="370" y="510"/>
                  </a:lnTo>
                  <a:lnTo>
                    <a:pt x="231" y="510"/>
                  </a:lnTo>
                  <a:lnTo>
                    <a:pt x="231" y="557"/>
                  </a:lnTo>
                  <a:lnTo>
                    <a:pt x="139" y="557"/>
                  </a:lnTo>
                  <a:lnTo>
                    <a:pt x="139" y="139"/>
                  </a:lnTo>
                  <a:lnTo>
                    <a:pt x="694" y="139"/>
                  </a:lnTo>
                  <a:lnTo>
                    <a:pt x="694" y="5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6">
              <a:extLst>
                <a:ext uri="{FF2B5EF4-FFF2-40B4-BE49-F238E27FC236}">
                  <a16:creationId xmlns:a16="http://schemas.microsoft.com/office/drawing/2014/main" id="{08A1F66E-3EB3-44C3-8608-363317C03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" y="1101"/>
              <a:ext cx="185" cy="18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7">
              <a:extLst>
                <a:ext uri="{FF2B5EF4-FFF2-40B4-BE49-F238E27FC236}">
                  <a16:creationId xmlns:a16="http://schemas.microsoft.com/office/drawing/2014/main" id="{98C47384-13AC-4559-BBA2-5B377C7491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" y="1101"/>
              <a:ext cx="185" cy="4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8">
              <a:extLst>
                <a:ext uri="{FF2B5EF4-FFF2-40B4-BE49-F238E27FC236}">
                  <a16:creationId xmlns:a16="http://schemas.microsoft.com/office/drawing/2014/main" id="{0E4E64D7-3E6E-4E66-82BB-B85398686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" y="1194"/>
              <a:ext cx="139" cy="4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F5212DB-F43A-445B-8167-27B4380209A7}"/>
              </a:ext>
            </a:extLst>
          </p:cNvPr>
          <p:cNvSpPr txBox="1"/>
          <p:nvPr/>
        </p:nvSpPr>
        <p:spPr>
          <a:xfrm flipH="1">
            <a:off x="7628727" y="5797411"/>
            <a:ext cx="17593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>
                <a:solidFill>
                  <a:schemeClr val="accent1"/>
                </a:solidFill>
                <a:latin typeface="+mj-lt"/>
              </a:rPr>
              <a:t>See appendix for detailed calculation of the impact </a:t>
            </a:r>
          </a:p>
        </p:txBody>
      </p:sp>
      <p:pic>
        <p:nvPicPr>
          <p:cNvPr id="9" name="Graphic 8" descr="Magnifying glass with solid fill">
            <a:extLst>
              <a:ext uri="{FF2B5EF4-FFF2-40B4-BE49-F238E27FC236}">
                <a16:creationId xmlns:a16="http://schemas.microsoft.com/office/drawing/2014/main" id="{C47B4297-9AC0-484F-A439-6D05060850A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7251847" y="5809026"/>
            <a:ext cx="376880" cy="376880"/>
          </a:xfrm>
          <a:prstGeom prst="rect">
            <a:avLst/>
          </a:prstGeom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AADEB342-2588-46FF-A6F9-03E6A5CA336A}"/>
              </a:ext>
            </a:extLst>
          </p:cNvPr>
          <p:cNvSpPr/>
          <p:nvPr/>
        </p:nvSpPr>
        <p:spPr bwMode="auto">
          <a:xfrm>
            <a:off x="4402172" y="1330991"/>
            <a:ext cx="1115216" cy="281758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7F144A8-71AD-42FE-A0EE-27A27A1E6002}"/>
              </a:ext>
            </a:extLst>
          </p:cNvPr>
          <p:cNvSpPr/>
          <p:nvPr/>
        </p:nvSpPr>
        <p:spPr bwMode="auto">
          <a:xfrm>
            <a:off x="4432333" y="1584794"/>
            <a:ext cx="1054894" cy="66577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53869F21-5A3E-40BA-900B-8D6775D8C108}"/>
              </a:ext>
            </a:extLst>
          </p:cNvPr>
          <p:cNvSpPr/>
          <p:nvPr/>
        </p:nvSpPr>
        <p:spPr bwMode="auto">
          <a:xfrm>
            <a:off x="4425340" y="2320049"/>
            <a:ext cx="1068880" cy="43999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491622C5-AFD0-441F-AEDC-A88BD169F490}"/>
              </a:ext>
            </a:extLst>
          </p:cNvPr>
          <p:cNvGrpSpPr/>
          <p:nvPr/>
        </p:nvGrpSpPr>
        <p:grpSpPr>
          <a:xfrm>
            <a:off x="4454402" y="1619399"/>
            <a:ext cx="862931" cy="246221"/>
            <a:chOff x="4454402" y="1777514"/>
            <a:chExt cx="862931" cy="246221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BCDE7805-40B6-479C-955A-5D023705551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4402" y="1898093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36784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EF499BA-50A7-46D6-A6D2-31CE4C16820A}"/>
                </a:ext>
              </a:extLst>
            </p:cNvPr>
            <p:cNvSpPr txBox="1"/>
            <p:nvPr/>
          </p:nvSpPr>
          <p:spPr>
            <a:xfrm>
              <a:off x="4681200" y="1777514"/>
              <a:ext cx="63613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DBAI/Toolkit/GDM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64B0F6C7-A248-4706-8677-FCDF5EEC9E25}"/>
              </a:ext>
            </a:extLst>
          </p:cNvPr>
          <p:cNvGrpSpPr/>
          <p:nvPr/>
        </p:nvGrpSpPr>
        <p:grpSpPr>
          <a:xfrm>
            <a:off x="4454402" y="2366060"/>
            <a:ext cx="990311" cy="123111"/>
            <a:chOff x="4457846" y="3018313"/>
            <a:chExt cx="990311" cy="123111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BC832CF-3340-414E-AD0C-6F8A153FD0E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3079868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00A3E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BB4894C-795E-4D74-AF25-DF6C388A46F3}"/>
                </a:ext>
              </a:extLst>
            </p:cNvPr>
            <p:cNvSpPr txBox="1"/>
            <p:nvPr/>
          </p:nvSpPr>
          <p:spPr>
            <a:xfrm>
              <a:off x="4684645" y="3018313"/>
              <a:ext cx="76351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err="1">
                  <a:latin typeface="+mj-lt"/>
                </a:rPr>
                <a:t>intuiz</a:t>
              </a:r>
              <a:r>
                <a:rPr lang="en-GB" sz="800">
                  <a:latin typeface="+mj-lt"/>
                </a:rPr>
                <a:t>+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DD31F134-B2F6-4B8A-9D94-A4B44C256417}"/>
              </a:ext>
            </a:extLst>
          </p:cNvPr>
          <p:cNvGrpSpPr/>
          <p:nvPr/>
        </p:nvGrpSpPr>
        <p:grpSpPr>
          <a:xfrm>
            <a:off x="4454402" y="2598090"/>
            <a:ext cx="862931" cy="123111"/>
            <a:chOff x="4457846" y="3236372"/>
            <a:chExt cx="862931" cy="123111"/>
          </a:xfrm>
        </p:grpSpPr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FF2DB32-D684-48B1-AD7E-57FE80FE17F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3297927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0575D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1259BE89-0501-46E0-B84E-22B8EEF909A3}"/>
                </a:ext>
              </a:extLst>
            </p:cNvPr>
            <p:cNvSpPr txBox="1"/>
            <p:nvPr/>
          </p:nvSpPr>
          <p:spPr>
            <a:xfrm>
              <a:off x="4684645" y="3236372"/>
              <a:ext cx="63613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err="1">
                  <a:latin typeface="+mj-lt"/>
                </a:rPr>
                <a:t>Wynbe</a:t>
              </a:r>
              <a:endParaRPr lang="en-GB" sz="800">
                <a:latin typeface="+mj-lt"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C5EAB510-55F2-419B-B0A3-9D6EA84A907B}"/>
              </a:ext>
            </a:extLst>
          </p:cNvPr>
          <p:cNvGrpSpPr/>
          <p:nvPr/>
        </p:nvGrpSpPr>
        <p:grpSpPr>
          <a:xfrm>
            <a:off x="4454402" y="3640584"/>
            <a:ext cx="862931" cy="246221"/>
            <a:chOff x="4457846" y="3843688"/>
            <a:chExt cx="862931" cy="246221"/>
          </a:xfrm>
        </p:grpSpPr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98DA31D-48AE-49B5-BF4B-9A5E3E5FA32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3966799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2CA9A05-69E5-49BD-A6B3-0831B8002053}"/>
                </a:ext>
              </a:extLst>
            </p:cNvPr>
            <p:cNvSpPr txBox="1"/>
            <p:nvPr/>
          </p:nvSpPr>
          <p:spPr>
            <a:xfrm>
              <a:off x="4684645" y="3843688"/>
              <a:ext cx="63613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Transversal products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E190D76-6694-493B-9BBA-8A289ACAEAEA}"/>
              </a:ext>
            </a:extLst>
          </p:cNvPr>
          <p:cNvGrpSpPr/>
          <p:nvPr/>
        </p:nvGrpSpPr>
        <p:grpSpPr>
          <a:xfrm>
            <a:off x="4454401" y="2829372"/>
            <a:ext cx="1042540" cy="123111"/>
            <a:chOff x="4457846" y="2454138"/>
            <a:chExt cx="1042540" cy="123111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CA1F3719-CA4D-49F7-9B0B-40E794FB6C6D}"/>
                </a:ext>
              </a:extLst>
            </p:cNvPr>
            <p:cNvSpPr txBox="1"/>
            <p:nvPr/>
          </p:nvSpPr>
          <p:spPr>
            <a:xfrm>
              <a:off x="4684645" y="2454138"/>
              <a:ext cx="81574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Global Financials</a:t>
              </a:r>
            </a:p>
          </p:txBody>
        </p: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C381445D-8637-4DAF-B91F-A793AC97EF5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2515693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E9F5E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5ADAF8C9-C9BC-4EB6-B763-DD7796112F6A}"/>
              </a:ext>
            </a:extLst>
          </p:cNvPr>
          <p:cNvGrpSpPr/>
          <p:nvPr/>
        </p:nvGrpSpPr>
        <p:grpSpPr>
          <a:xfrm>
            <a:off x="4454402" y="1890889"/>
            <a:ext cx="1042540" cy="123111"/>
            <a:chOff x="4454402" y="2049004"/>
            <a:chExt cx="1042540" cy="123111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4EF06593-70A7-45E4-BF80-86C968F0B55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4402" y="2110559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289B3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9A0A65E-C387-4A13-94C8-EC840E747F4D}"/>
                </a:ext>
              </a:extLst>
            </p:cNvPr>
            <p:cNvSpPr txBox="1"/>
            <p:nvPr/>
          </p:nvSpPr>
          <p:spPr>
            <a:xfrm>
              <a:off x="4681201" y="2049004"/>
              <a:ext cx="81574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err="1">
                  <a:latin typeface="+mj-lt"/>
                </a:rPr>
                <a:t>DNBi</a:t>
              </a:r>
              <a:endParaRPr lang="en-GB" sz="800">
                <a:latin typeface="+mj-lt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4D0612CA-5AD3-4C36-BD71-9E7CEDC86993}"/>
              </a:ext>
            </a:extLst>
          </p:cNvPr>
          <p:cNvGrpSpPr/>
          <p:nvPr/>
        </p:nvGrpSpPr>
        <p:grpSpPr>
          <a:xfrm>
            <a:off x="4454402" y="3016737"/>
            <a:ext cx="862931" cy="123111"/>
            <a:chOff x="4457846" y="3493584"/>
            <a:chExt cx="862931" cy="123111"/>
          </a:xfrm>
        </p:grpSpPr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5316BD7B-F1CD-43B0-8958-A36C8FF8A4B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3555139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00527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4C4FEDE-9B36-4CE5-9FF4-5F07950D0E79}"/>
                </a:ext>
              </a:extLst>
            </p:cNvPr>
            <p:cNvSpPr txBox="1"/>
            <p:nvPr/>
          </p:nvSpPr>
          <p:spPr>
            <a:xfrm>
              <a:off x="4684645" y="3493584"/>
              <a:ext cx="63613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Country Risk</a:t>
              </a: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87F8F60C-D5D4-44AF-B455-9817BECC8BAF}"/>
              </a:ext>
            </a:extLst>
          </p:cNvPr>
          <p:cNvGrpSpPr/>
          <p:nvPr/>
        </p:nvGrpSpPr>
        <p:grpSpPr>
          <a:xfrm>
            <a:off x="4454402" y="3248767"/>
            <a:ext cx="862931" cy="123111"/>
            <a:chOff x="4457846" y="3668838"/>
            <a:chExt cx="862931" cy="123111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F7B8D3D1-B307-4418-A94A-C90E0F604F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3730393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A4C4FD4-3747-4A97-B33D-853D508B30B5}"/>
                </a:ext>
              </a:extLst>
            </p:cNvPr>
            <p:cNvSpPr txBox="1"/>
            <p:nvPr/>
          </p:nvSpPr>
          <p:spPr>
            <a:xfrm>
              <a:off x="4684645" y="3668838"/>
              <a:ext cx="63613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err="1">
                  <a:latin typeface="+mj-lt"/>
                </a:rPr>
                <a:t>Inforisk</a:t>
              </a:r>
              <a:endParaRPr lang="en-GB" sz="800">
                <a:latin typeface="+mj-lt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BE1CEB5-11C2-475F-95F0-F789321FD976}"/>
              </a:ext>
            </a:extLst>
          </p:cNvPr>
          <p:cNvGrpSpPr/>
          <p:nvPr/>
        </p:nvGrpSpPr>
        <p:grpSpPr>
          <a:xfrm>
            <a:off x="4454401" y="3944599"/>
            <a:ext cx="510732" cy="123111"/>
            <a:chOff x="4457846" y="4413688"/>
            <a:chExt cx="510732" cy="123111"/>
          </a:xfrm>
        </p:grpSpPr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D624D10D-20AA-4A72-9055-FC309212F3E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4475243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2CABFFB2-4E0E-48E6-9D09-2DF953381953}"/>
                </a:ext>
              </a:extLst>
            </p:cNvPr>
            <p:cNvSpPr txBox="1"/>
            <p:nvPr/>
          </p:nvSpPr>
          <p:spPr>
            <a:xfrm>
              <a:off x="4684645" y="4413688"/>
              <a:ext cx="28393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Other</a:t>
              </a:r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8415F574-FB92-4810-B591-3F14B8524B67}"/>
              </a:ext>
            </a:extLst>
          </p:cNvPr>
          <p:cNvSpPr txBox="1"/>
          <p:nvPr/>
        </p:nvSpPr>
        <p:spPr>
          <a:xfrm>
            <a:off x="4793379" y="4257491"/>
            <a:ext cx="742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i="1">
                <a:latin typeface="Trebuchet MS" panose="020B0603020202020204" pitchFamily="34" charset="0"/>
              </a:rPr>
              <a:t>Products merging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C66711D-7897-4BB2-AB05-BEDCEE3CC7C3}"/>
              </a:ext>
            </a:extLst>
          </p:cNvPr>
          <p:cNvSpPr/>
          <p:nvPr/>
        </p:nvSpPr>
        <p:spPr bwMode="auto">
          <a:xfrm>
            <a:off x="4425340" y="4353413"/>
            <a:ext cx="329894" cy="19587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200">
              <a:latin typeface="Trebuchet MS" pitchFamily="34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B92C233-A876-4936-A0C3-181BE26327EC}"/>
              </a:ext>
            </a:extLst>
          </p:cNvPr>
          <p:cNvGrpSpPr/>
          <p:nvPr/>
        </p:nvGrpSpPr>
        <p:grpSpPr>
          <a:xfrm>
            <a:off x="4454402" y="3470109"/>
            <a:ext cx="862931" cy="123111"/>
            <a:chOff x="4457846" y="3668838"/>
            <a:chExt cx="862931" cy="123111"/>
          </a:xfrm>
        </p:grpSpPr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28F4B2AE-AB25-4130-BE8B-5CFB3F927A0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3730393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A79F71F5-0564-4F4C-9107-E38BB3D02814}"/>
                </a:ext>
              </a:extLst>
            </p:cNvPr>
            <p:cNvSpPr txBox="1"/>
            <p:nvPr/>
          </p:nvSpPr>
          <p:spPr>
            <a:xfrm>
              <a:off x="4684645" y="3668838"/>
              <a:ext cx="63613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Risk </a:t>
              </a:r>
              <a:r>
                <a:rPr lang="en-GB" sz="800" err="1">
                  <a:latin typeface="+mj-lt"/>
                </a:rPr>
                <a:t>manageo</a:t>
              </a:r>
              <a:endParaRPr lang="en-GB" sz="800">
                <a:latin typeface="+mj-lt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31BC8022-E160-4A3A-A77D-A1352AB36413}"/>
              </a:ext>
            </a:extLst>
          </p:cNvPr>
          <p:cNvGrpSpPr/>
          <p:nvPr/>
        </p:nvGrpSpPr>
        <p:grpSpPr>
          <a:xfrm>
            <a:off x="4454402" y="1430461"/>
            <a:ext cx="1103746" cy="123111"/>
            <a:chOff x="4457845" y="2814486"/>
            <a:chExt cx="1103746" cy="123111"/>
          </a:xfrm>
        </p:grpSpPr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057E3D4F-822E-4919-9AE0-F06207978E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5" y="2876041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chemeClr val="tx2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A7B20734-99E1-4079-9C7A-AD74ADED5218}"/>
                </a:ext>
              </a:extLst>
            </p:cNvPr>
            <p:cNvSpPr txBox="1"/>
            <p:nvPr/>
          </p:nvSpPr>
          <p:spPr>
            <a:xfrm>
              <a:off x="4684644" y="2814486"/>
              <a:ext cx="87694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Portfolio manager</a:t>
              </a: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655E2C9E-B29D-4AB6-8855-E49B3CD77630}"/>
              </a:ext>
            </a:extLst>
          </p:cNvPr>
          <p:cNvGrpSpPr/>
          <p:nvPr/>
        </p:nvGrpSpPr>
        <p:grpSpPr>
          <a:xfrm>
            <a:off x="4454402" y="2088617"/>
            <a:ext cx="782419" cy="123111"/>
            <a:chOff x="4457846" y="2241750"/>
            <a:chExt cx="782419" cy="123111"/>
          </a:xfrm>
        </p:grpSpPr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9CDAAF00-EC27-44A5-B1BE-3FA8E48149FD}"/>
                </a:ext>
              </a:extLst>
            </p:cNvPr>
            <p:cNvSpPr txBox="1"/>
            <p:nvPr/>
          </p:nvSpPr>
          <p:spPr>
            <a:xfrm>
              <a:off x="4684645" y="2241750"/>
              <a:ext cx="55562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>
                  <a:latin typeface="+mj-lt"/>
                </a:rPr>
                <a:t>DB Credit</a:t>
              </a:r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FDFA1BC0-2C2B-465E-BE56-56E53F11A2C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57846" y="2303305"/>
              <a:ext cx="207891" cy="0"/>
            </a:xfrm>
            <a:prstGeom prst="line">
              <a:avLst/>
            </a:prstGeom>
            <a:solidFill>
              <a:schemeClr val="bg1"/>
            </a:solidFill>
            <a:ln w="88900" cap="flat" cmpd="sng" algn="ctr">
              <a:solidFill>
                <a:srgbClr val="8FCD9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9" name="Isosceles Triangle 158">
            <a:extLst>
              <a:ext uri="{FF2B5EF4-FFF2-40B4-BE49-F238E27FC236}">
                <a16:creationId xmlns:a16="http://schemas.microsoft.com/office/drawing/2014/main" id="{EBDC99D3-9D44-4673-AE9F-DBAF58ADB3B0}"/>
              </a:ext>
            </a:extLst>
          </p:cNvPr>
          <p:cNvSpPr/>
          <p:nvPr/>
        </p:nvSpPr>
        <p:spPr bwMode="auto">
          <a:xfrm flipV="1">
            <a:off x="4633406" y="2038087"/>
            <a:ext cx="625689" cy="57868"/>
          </a:xfrm>
          <a:prstGeom prst="triangle">
            <a:avLst/>
          </a:prstGeom>
          <a:solidFill>
            <a:srgbClr val="8FCD9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60" name="Isosceles Triangle 159">
            <a:extLst>
              <a:ext uri="{FF2B5EF4-FFF2-40B4-BE49-F238E27FC236}">
                <a16:creationId xmlns:a16="http://schemas.microsoft.com/office/drawing/2014/main" id="{124EB004-0B77-4FBF-BD9D-A510DE59E56F}"/>
              </a:ext>
            </a:extLst>
          </p:cNvPr>
          <p:cNvSpPr/>
          <p:nvPr/>
        </p:nvSpPr>
        <p:spPr bwMode="auto">
          <a:xfrm flipV="1">
            <a:off x="4624299" y="2529045"/>
            <a:ext cx="625689" cy="72805"/>
          </a:xfrm>
          <a:prstGeom prst="triangle">
            <a:avLst/>
          </a:prstGeom>
          <a:solidFill>
            <a:srgbClr val="0575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B4E0EF59-C0B8-4006-9163-74A603E55D52}"/>
              </a:ext>
            </a:extLst>
          </p:cNvPr>
          <p:cNvCxnSpPr/>
          <p:nvPr/>
        </p:nvCxnSpPr>
        <p:spPr bwMode="auto">
          <a:xfrm flipV="1">
            <a:off x="5317333" y="1584794"/>
            <a:ext cx="697960" cy="155184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65281476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77857E2-6DF1-48EF-BB3F-BB1531140D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59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416" imgH="423" progId="TCLayout.ActiveDocument.1">
                  <p:embed/>
                </p:oleObj>
              </mc:Choice>
              <mc:Fallback>
                <p:oleObj name="think-cell Slide" r:id="rId4" imgW="416" imgH="4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77857E2-6DF1-48EF-BB3F-BB1531140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FC02BAD-456B-4773-9A5D-8C6871E49FAB}"/>
              </a:ext>
            </a:extLst>
          </p:cNvPr>
          <p:cNvSpPr/>
          <p:nvPr/>
        </p:nvSpPr>
        <p:spPr bwMode="auto">
          <a:xfrm>
            <a:off x="174300" y="796955"/>
            <a:ext cx="9540000" cy="43035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39" name="Chart 38">
                <a:extLst>
                  <a:ext uri="{FF2B5EF4-FFF2-40B4-BE49-F238E27FC236}">
                    <a16:creationId xmlns:a16="http://schemas.microsoft.com/office/drawing/2014/main" id="{0497DC71-DDA8-448E-AE0B-B31CCFE7880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56546044"/>
                  </p:ext>
                </p:extLst>
              </p:nvPr>
            </p:nvGraphicFramePr>
            <p:xfrm>
              <a:off x="297031" y="3100752"/>
              <a:ext cx="9294539" cy="191269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39" name="Chart 38">
                <a:extLst>
                  <a:ext uri="{FF2B5EF4-FFF2-40B4-BE49-F238E27FC236}">
                    <a16:creationId xmlns:a16="http://schemas.microsoft.com/office/drawing/2014/main" id="{0497DC71-DDA8-448E-AE0B-B31CCFE7880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97031" y="3100752"/>
                <a:ext cx="9294539" cy="191269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64576B3F-3BF3-47ED-8392-95410BFB7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00" y="147600"/>
            <a:ext cx="8054475" cy="684000"/>
          </a:xfrm>
        </p:spPr>
        <p:txBody>
          <a:bodyPr vert="horz"/>
          <a:lstStyle/>
          <a:p>
            <a:r>
              <a:rPr lang="en-GB" sz="1600">
                <a:latin typeface="Trebuchet MS" pitchFamily="34" charset="0"/>
              </a:rPr>
              <a:t>In France, the migration has </a:t>
            </a:r>
            <a:r>
              <a:rPr lang="en-GB">
                <a:latin typeface="Trebuchet MS" pitchFamily="34" charset="0"/>
              </a:rPr>
              <a:t>created an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artificial decrease of DBAI billings </a:t>
            </a:r>
            <a:r>
              <a:rPr lang="en-GB">
                <a:latin typeface="Trebuchet MS" pitchFamily="34" charset="0"/>
              </a:rPr>
              <a:t>and an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artificial increase of D&amp;B Credit’s</a:t>
            </a:r>
            <a:r>
              <a:rPr lang="en-GB">
                <a:latin typeface="Trebuchet MS" pitchFamily="34" charset="0"/>
              </a:rPr>
              <a:t>, inducing a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€-700k effect for 2020 </a:t>
            </a:r>
            <a:r>
              <a:rPr lang="en-GB">
                <a:latin typeface="Trebuchet MS" pitchFamily="34" charset="0"/>
              </a:rPr>
              <a:t>(1/2)</a:t>
            </a:r>
            <a:br>
              <a:rPr lang="en-GB"/>
            </a:b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22942-C2FD-4CBD-8EDF-A48063B3C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274" y="6580025"/>
            <a:ext cx="798752" cy="244800"/>
          </a:xfrm>
        </p:spPr>
        <p:txBody>
          <a:bodyPr/>
          <a:lstStyle/>
          <a:p>
            <a:endParaRPr lang="fr-FR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40DF5000-C39C-49DC-9049-89450CA51B8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56414380"/>
                  </p:ext>
                </p:extLst>
              </p:nvPr>
            </p:nvGraphicFramePr>
            <p:xfrm>
              <a:off x="297031" y="1002616"/>
              <a:ext cx="9294539" cy="191269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40DF5000-C39C-49DC-9049-89450CA51B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97031" y="1002616"/>
                <a:ext cx="9294539" cy="191269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Rectangle 9">
            <a:extLst>
              <a:ext uri="{FF2B5EF4-FFF2-40B4-BE49-F238E27FC236}">
                <a16:creationId xmlns:a16="http://schemas.microsoft.com/office/drawing/2014/main" id="{33FAE982-EF25-48C7-A786-AC0F0510B8D2}"/>
              </a:ext>
            </a:extLst>
          </p:cNvPr>
          <p:cNvSpPr/>
          <p:nvPr/>
        </p:nvSpPr>
        <p:spPr bwMode="auto">
          <a:xfrm>
            <a:off x="297031" y="796955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illings bridge in France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D2F3C3-FA5C-421B-87D7-38B6AB2BF45B}"/>
              </a:ext>
            </a:extLst>
          </p:cNvPr>
          <p:cNvSpPr/>
          <p:nvPr/>
        </p:nvSpPr>
        <p:spPr bwMode="auto">
          <a:xfrm>
            <a:off x="297031" y="2920443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illings bridge in France without migration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3FF9CD-B1BC-4799-A632-81B0B66892EF}"/>
              </a:ext>
            </a:extLst>
          </p:cNvPr>
          <p:cNvSpPr/>
          <p:nvPr/>
        </p:nvSpPr>
        <p:spPr bwMode="auto">
          <a:xfrm>
            <a:off x="165600" y="5351088"/>
            <a:ext cx="9548700" cy="10581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ctr" anchorCtr="0" compatLnSpc="1">
            <a:prstTxWarp prst="textNoShape">
              <a:avLst/>
            </a:prstTxWarp>
          </a:bodyPr>
          <a:lstStyle/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ncludes the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artificially high churn and down-sell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created by the migration on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DBAI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. We have considered that the “normal </a:t>
            </a:r>
            <a:r>
              <a:rPr lang="en-GB" sz="1000" err="1">
                <a:latin typeface="Trebuchet MS" panose="020B0603020202020204" pitchFamily="34" charset="0"/>
                <a:ea typeface="Calibri" panose="020F0502020204030204" pitchFamily="34" charset="0"/>
              </a:rPr>
              <a:t>renewall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 rate is 76% and the normal churn rate 5.5% as given per the management.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net from the strong increase of DB Credit and Shared bucket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due to the migration: we have removed all the clients that had either DBAI in 2019 and that has now DB Credit or Shared bucket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Following management assumption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GDM &amp; Toolkit is not included in the products impacted by the migr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393647-7AF4-4521-B8B8-5AE0F22DC3B0}"/>
              </a:ext>
            </a:extLst>
          </p:cNvPr>
          <p:cNvSpPr/>
          <p:nvPr/>
        </p:nvSpPr>
        <p:spPr bwMode="auto">
          <a:xfrm>
            <a:off x="2147888" y="1195971"/>
            <a:ext cx="1021556" cy="370891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485A8C1-E288-4C0E-8B53-A639DDDA682F}"/>
              </a:ext>
            </a:extLst>
          </p:cNvPr>
          <p:cNvSpPr/>
          <p:nvPr/>
        </p:nvSpPr>
        <p:spPr bwMode="auto">
          <a:xfrm>
            <a:off x="3680461" y="1195971"/>
            <a:ext cx="1021556" cy="370891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F441A8-CBFA-4807-AA42-A25161B73984}"/>
              </a:ext>
            </a:extLst>
          </p:cNvPr>
          <p:cNvSpPr/>
          <p:nvPr/>
        </p:nvSpPr>
        <p:spPr bwMode="auto">
          <a:xfrm>
            <a:off x="3749448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2E04E-BD40-4781-95C1-B1CB4629888D}"/>
              </a:ext>
            </a:extLst>
          </p:cNvPr>
          <p:cNvSpPr/>
          <p:nvPr/>
        </p:nvSpPr>
        <p:spPr bwMode="auto">
          <a:xfrm>
            <a:off x="6040210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60F54E-E0B3-4D5A-9146-8B3E9297DA9A}"/>
              </a:ext>
            </a:extLst>
          </p:cNvPr>
          <p:cNvSpPr txBox="1"/>
          <p:nvPr/>
        </p:nvSpPr>
        <p:spPr>
          <a:xfrm>
            <a:off x="4286252" y="6548512"/>
            <a:ext cx="141376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 err="1">
                <a:latin typeface="+mj-lt"/>
              </a:rPr>
              <a:t>Products</a:t>
            </a:r>
            <a:r>
              <a:rPr lang="fr-FR" sz="1000" i="1">
                <a:latin typeface="+mj-lt"/>
              </a:rPr>
              <a:t> </a:t>
            </a:r>
            <a:r>
              <a:rPr lang="fr-FR" sz="1000" i="1" err="1">
                <a:latin typeface="+mj-lt"/>
              </a:rPr>
              <a:t>decommissioned</a:t>
            </a:r>
            <a:r>
              <a:rPr lang="fr-FR" sz="1000" i="1">
                <a:latin typeface="+mj-lt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BC0A10-C77D-406E-9FE1-C469891D4A13}"/>
              </a:ext>
            </a:extLst>
          </p:cNvPr>
          <p:cNvSpPr txBox="1"/>
          <p:nvPr/>
        </p:nvSpPr>
        <p:spPr>
          <a:xfrm>
            <a:off x="6582468" y="6625456"/>
            <a:ext cx="14137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>
                <a:latin typeface="+mj-lt"/>
              </a:rPr>
              <a:t>« New » </a:t>
            </a:r>
            <a:r>
              <a:rPr lang="fr-FR" sz="1000" i="1" err="1">
                <a:latin typeface="+mj-lt"/>
              </a:rPr>
              <a:t>products</a:t>
            </a:r>
            <a:endParaRPr lang="fr-FR" sz="1000" i="1">
              <a:latin typeface="+mj-lt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7170DDA-478F-4AAA-820D-FECB02AEA468}"/>
              </a:ext>
            </a:extLst>
          </p:cNvPr>
          <p:cNvCxnSpPr>
            <a:cxnSpLocks/>
            <a:stCxn id="21" idx="3"/>
          </p:cNvCxnSpPr>
          <p:nvPr/>
        </p:nvCxnSpPr>
        <p:spPr bwMode="auto">
          <a:xfrm>
            <a:off x="3169444" y="1381417"/>
            <a:ext cx="511017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84" name="Rectangle : coins arrondis 199">
            <a:extLst>
              <a:ext uri="{FF2B5EF4-FFF2-40B4-BE49-F238E27FC236}">
                <a16:creationId xmlns:a16="http://schemas.microsoft.com/office/drawing/2014/main" id="{899589CB-45AE-4F94-BBEB-C9F32B82E1DB}"/>
              </a:ext>
            </a:extLst>
          </p:cNvPr>
          <p:cNvSpPr/>
          <p:nvPr/>
        </p:nvSpPr>
        <p:spPr bwMode="auto">
          <a:xfrm>
            <a:off x="8508412" y="196035"/>
            <a:ext cx="335598" cy="21213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85" name="Rectangle : coins arrondis 200">
            <a:extLst>
              <a:ext uri="{FF2B5EF4-FFF2-40B4-BE49-F238E27FC236}">
                <a16:creationId xmlns:a16="http://schemas.microsoft.com/office/drawing/2014/main" id="{3F0DF168-7912-4677-81B9-631A7AE1A782}"/>
              </a:ext>
            </a:extLst>
          </p:cNvPr>
          <p:cNvSpPr/>
          <p:nvPr/>
        </p:nvSpPr>
        <p:spPr bwMode="auto">
          <a:xfrm>
            <a:off x="8923225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86" name="Rectangle : coins arrondis 201">
            <a:extLst>
              <a:ext uri="{FF2B5EF4-FFF2-40B4-BE49-F238E27FC236}">
                <a16:creationId xmlns:a16="http://schemas.microsoft.com/office/drawing/2014/main" id="{8198288C-2021-4E0C-B24D-440404343D2D}"/>
              </a:ext>
            </a:extLst>
          </p:cNvPr>
          <p:cNvSpPr/>
          <p:nvPr/>
        </p:nvSpPr>
        <p:spPr bwMode="auto">
          <a:xfrm>
            <a:off x="9338038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87" name="ZoneTexte 18">
            <a:extLst>
              <a:ext uri="{FF2B5EF4-FFF2-40B4-BE49-F238E27FC236}">
                <a16:creationId xmlns:a16="http://schemas.microsoft.com/office/drawing/2014/main" id="{410EEDC1-0348-49B7-9C87-75340D928A62}"/>
              </a:ext>
            </a:extLst>
          </p:cNvPr>
          <p:cNvSpPr txBox="1"/>
          <p:nvPr/>
        </p:nvSpPr>
        <p:spPr>
          <a:xfrm>
            <a:off x="8448150" y="-11528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err="1">
                <a:solidFill>
                  <a:schemeClr val="tx2"/>
                </a:solidFill>
                <a:latin typeface="Trebuchet MS" panose="020B0603020202020204" pitchFamily="34" charset="0"/>
              </a:rPr>
              <a:t>Altares</a:t>
            </a:r>
            <a:r>
              <a:rPr lang="en-GB" sz="800">
                <a:solidFill>
                  <a:schemeClr val="tx2"/>
                </a:solidFill>
                <a:latin typeface="Trebuchet MS" panose="020B0603020202020204" pitchFamily="34" charset="0"/>
              </a:rPr>
              <a:t>’ offering</a:t>
            </a:r>
          </a:p>
        </p:txBody>
      </p:sp>
      <p:pic>
        <p:nvPicPr>
          <p:cNvPr id="588" name="Graphique 128" descr="Jauge">
            <a:extLst>
              <a:ext uri="{FF2B5EF4-FFF2-40B4-BE49-F238E27FC236}">
                <a16:creationId xmlns:a16="http://schemas.microsoft.com/office/drawing/2014/main" id="{ABFD68D7-DF42-4D19-8EFC-9DF58835C4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53764" y="187516"/>
            <a:ext cx="234953" cy="218224"/>
          </a:xfrm>
          <a:prstGeom prst="rect">
            <a:avLst/>
          </a:prstGeom>
          <a:effectLst/>
        </p:spPr>
      </p:pic>
      <p:pic>
        <p:nvPicPr>
          <p:cNvPr id="589" name="Graphique 90" descr="Poignée de main">
            <a:extLst>
              <a:ext uri="{FF2B5EF4-FFF2-40B4-BE49-F238E27FC236}">
                <a16:creationId xmlns:a16="http://schemas.microsoft.com/office/drawing/2014/main" id="{29CC5E62-C40E-42AE-BC62-C49140EEEB6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960868" y="152880"/>
            <a:ext cx="256313" cy="287496"/>
          </a:xfrm>
          <a:prstGeom prst="rect">
            <a:avLst/>
          </a:prstGeom>
          <a:effectLst/>
        </p:spPr>
      </p:pic>
      <p:pic>
        <p:nvPicPr>
          <p:cNvPr id="590" name="Graphique 74" descr="Mégaphone">
            <a:extLst>
              <a:ext uri="{FF2B5EF4-FFF2-40B4-BE49-F238E27FC236}">
                <a16:creationId xmlns:a16="http://schemas.microsoft.com/office/drawing/2014/main" id="{DBC9C08A-3DE4-4E8A-B523-037FE1B1D9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89331" y="181519"/>
            <a:ext cx="233011" cy="216420"/>
          </a:xfrm>
          <a:prstGeom prst="rect">
            <a:avLst/>
          </a:prstGeom>
          <a:effectLst/>
        </p:spPr>
      </p:pic>
      <p:sp>
        <p:nvSpPr>
          <p:cNvPr id="595" name="ZoneTexte 18">
            <a:extLst>
              <a:ext uri="{FF2B5EF4-FFF2-40B4-BE49-F238E27FC236}">
                <a16:creationId xmlns:a16="http://schemas.microsoft.com/office/drawing/2014/main" id="{F3EC09FA-0A14-477E-84EB-3810DF9665D1}"/>
              </a:ext>
            </a:extLst>
          </p:cNvPr>
          <p:cNvSpPr txBox="1"/>
          <p:nvPr/>
        </p:nvSpPr>
        <p:spPr>
          <a:xfrm>
            <a:off x="8448150" y="361171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latin typeface="Trebuchet MS" panose="020B0603020202020204" pitchFamily="34" charset="0"/>
              </a:rPr>
              <a:t>Product dynamics</a:t>
            </a:r>
          </a:p>
        </p:txBody>
      </p:sp>
      <p:pic>
        <p:nvPicPr>
          <p:cNvPr id="32" name="Picture 2" descr="Drapeau France">
            <a:extLst>
              <a:ext uri="{FF2B5EF4-FFF2-40B4-BE49-F238E27FC236}">
                <a16:creationId xmlns:a16="http://schemas.microsoft.com/office/drawing/2014/main" id="{87DF11A9-65F9-4635-AA0F-D3CC1D3D18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6" b="16757"/>
          <a:stretch/>
        </p:blipFill>
        <p:spPr bwMode="auto">
          <a:xfrm>
            <a:off x="9703696" y="62893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87C8AC6B-97BD-4A4E-86E4-E38D45D244CA}"/>
              </a:ext>
            </a:extLst>
          </p:cNvPr>
          <p:cNvSpPr/>
          <p:nvPr/>
        </p:nvSpPr>
        <p:spPr bwMode="auto">
          <a:xfrm>
            <a:off x="2147888" y="3243554"/>
            <a:ext cx="1021556" cy="370891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DE57C70-ED87-4504-B750-89CE38529CC1}"/>
              </a:ext>
            </a:extLst>
          </p:cNvPr>
          <p:cNvSpPr/>
          <p:nvPr/>
        </p:nvSpPr>
        <p:spPr bwMode="auto">
          <a:xfrm>
            <a:off x="3680461" y="3243554"/>
            <a:ext cx="1021556" cy="370891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4AF4DD8-6D6D-4687-BDB0-A01A0BBE82D8}"/>
              </a:ext>
            </a:extLst>
          </p:cNvPr>
          <p:cNvCxnSpPr>
            <a:cxnSpLocks/>
            <a:stCxn id="41" idx="3"/>
          </p:cNvCxnSpPr>
          <p:nvPr/>
        </p:nvCxnSpPr>
        <p:spPr bwMode="auto">
          <a:xfrm>
            <a:off x="3169444" y="3429000"/>
            <a:ext cx="511017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B799233-09D2-408F-9392-0CF66AC92A2D}"/>
              </a:ext>
            </a:extLst>
          </p:cNvPr>
          <p:cNvSpPr txBox="1"/>
          <p:nvPr/>
        </p:nvSpPr>
        <p:spPr>
          <a:xfrm flipH="1">
            <a:off x="7904741" y="6009079"/>
            <a:ext cx="17593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>
                <a:solidFill>
                  <a:schemeClr val="accent1"/>
                </a:solidFill>
                <a:latin typeface="+mj-lt"/>
              </a:rPr>
              <a:t>See calculation details slide 6</a:t>
            </a:r>
          </a:p>
        </p:txBody>
      </p:sp>
      <p:pic>
        <p:nvPicPr>
          <p:cNvPr id="34" name="Graphic 33" descr="Magnifying glass with solid fill">
            <a:extLst>
              <a:ext uri="{FF2B5EF4-FFF2-40B4-BE49-F238E27FC236}">
                <a16:creationId xmlns:a16="http://schemas.microsoft.com/office/drawing/2014/main" id="{4925EF5F-FA80-425F-A7BF-89D8BF9FD4D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flipH="1">
            <a:off x="7527861" y="6020694"/>
            <a:ext cx="376880" cy="37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42036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77857E2-6DF1-48EF-BB3F-BB1531140D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644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9" imgW="416" imgH="423" progId="TCLayout.ActiveDocument.1">
                  <p:embed/>
                </p:oleObj>
              </mc:Choice>
              <mc:Fallback>
                <p:oleObj name="think-cell Slide" r:id="rId59" imgW="416" imgH="4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77857E2-6DF1-48EF-BB3F-BB1531140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FC02BAD-456B-4773-9A5D-8C6871E49FAB}"/>
              </a:ext>
            </a:extLst>
          </p:cNvPr>
          <p:cNvSpPr/>
          <p:nvPr/>
        </p:nvSpPr>
        <p:spPr bwMode="auto">
          <a:xfrm>
            <a:off x="165600" y="844299"/>
            <a:ext cx="9540000" cy="4435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576B3F-3BF3-47ED-8392-95410BFB7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00" y="147600"/>
            <a:ext cx="8014788" cy="684000"/>
          </a:xfrm>
        </p:spPr>
        <p:txBody>
          <a:bodyPr vert="horz"/>
          <a:lstStyle/>
          <a:p>
            <a:r>
              <a:rPr lang="en-GB" sz="1600">
                <a:latin typeface="Trebuchet MS" pitchFamily="34" charset="0"/>
              </a:rPr>
              <a:t>In France, the migration has </a:t>
            </a:r>
            <a:r>
              <a:rPr lang="en-GB">
                <a:latin typeface="Trebuchet MS" pitchFamily="34" charset="0"/>
              </a:rPr>
              <a:t>created an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artificial decrease of DBAI billings </a:t>
            </a:r>
            <a:r>
              <a:rPr lang="en-GB">
                <a:latin typeface="Trebuchet MS" pitchFamily="34" charset="0"/>
              </a:rPr>
              <a:t>and an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artificial increase of D&amp;B Credit’s</a:t>
            </a:r>
            <a:r>
              <a:rPr lang="en-GB">
                <a:latin typeface="Trebuchet MS" pitchFamily="34" charset="0"/>
              </a:rPr>
              <a:t>, inducing a </a:t>
            </a:r>
            <a:r>
              <a:rPr lang="en-GB">
                <a:solidFill>
                  <a:schemeClr val="tx2"/>
                </a:solidFill>
                <a:latin typeface="Trebuchet MS" pitchFamily="34" charset="0"/>
              </a:rPr>
              <a:t>€-700k effect for 2020</a:t>
            </a:r>
            <a:br>
              <a:rPr lang="en-GB">
                <a:solidFill>
                  <a:schemeClr val="tx2"/>
                </a:solidFill>
                <a:latin typeface="Trebuchet MS" pitchFamily="34" charset="0"/>
              </a:rPr>
            </a:b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22942-C2FD-4CBD-8EDF-A48063B3C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273" y="6580025"/>
            <a:ext cx="2093985" cy="244800"/>
          </a:xfrm>
        </p:spPr>
        <p:txBody>
          <a:bodyPr/>
          <a:lstStyle/>
          <a:p>
            <a:r>
              <a:rPr lang="en-GB"/>
              <a:t>Sources: eleven research &amp; analysis</a:t>
            </a:r>
          </a:p>
          <a:p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FAE982-EF25-48C7-A786-AC0F0510B8D2}"/>
              </a:ext>
            </a:extLst>
          </p:cNvPr>
          <p:cNvSpPr/>
          <p:nvPr/>
        </p:nvSpPr>
        <p:spPr bwMode="auto">
          <a:xfrm>
            <a:off x="297031" y="840160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illings bridge in France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D2F3C3-FA5C-421B-87D7-38B6AB2BF45B}"/>
              </a:ext>
            </a:extLst>
          </p:cNvPr>
          <p:cNvSpPr/>
          <p:nvPr/>
        </p:nvSpPr>
        <p:spPr bwMode="auto">
          <a:xfrm>
            <a:off x="297031" y="2930526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illings bridge in France without migration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3FF9CD-B1BC-4799-A632-81B0B66892EF}"/>
              </a:ext>
            </a:extLst>
          </p:cNvPr>
          <p:cNvSpPr/>
          <p:nvPr/>
        </p:nvSpPr>
        <p:spPr bwMode="auto">
          <a:xfrm>
            <a:off x="165600" y="5351088"/>
            <a:ext cx="9548700" cy="10581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ctr" anchorCtr="0" compatLnSpc="1">
            <a:prstTxWarp prst="textNoShape">
              <a:avLst/>
            </a:prstTxWarp>
          </a:bodyPr>
          <a:lstStyle/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ncludes the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artificially high churn and down-sell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created by the migration on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DBAI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. We have considered that the “normal </a:t>
            </a:r>
            <a:r>
              <a:rPr lang="en-GB" sz="1000" err="1">
                <a:latin typeface="Trebuchet MS" panose="020B0603020202020204" pitchFamily="34" charset="0"/>
                <a:ea typeface="Calibri" panose="020F0502020204030204" pitchFamily="34" charset="0"/>
              </a:rPr>
              <a:t>renewall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 rate is 76% and the normal churn rate 5.5% as given per the management.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net from the strong increase of DB Credit and Shared bucket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due to the migration: we have removed all the clients that had either DBAI in 2019 and that has now DB Credit or Shared bucket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Following management assumption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GDM &amp; Toolkit is not included in the products impacted by the migr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F441A8-CBFA-4807-AA42-A25161B73984}"/>
              </a:ext>
            </a:extLst>
          </p:cNvPr>
          <p:cNvSpPr/>
          <p:nvPr/>
        </p:nvSpPr>
        <p:spPr bwMode="auto">
          <a:xfrm>
            <a:off x="3749448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2E04E-BD40-4781-95C1-B1CB4629888D}"/>
              </a:ext>
            </a:extLst>
          </p:cNvPr>
          <p:cNvSpPr/>
          <p:nvPr/>
        </p:nvSpPr>
        <p:spPr bwMode="auto">
          <a:xfrm>
            <a:off x="6040210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60F54E-E0B3-4D5A-9146-8B3E9297DA9A}"/>
              </a:ext>
            </a:extLst>
          </p:cNvPr>
          <p:cNvSpPr txBox="1"/>
          <p:nvPr/>
        </p:nvSpPr>
        <p:spPr>
          <a:xfrm>
            <a:off x="4286252" y="6548512"/>
            <a:ext cx="141376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 err="1">
                <a:latin typeface="+mj-lt"/>
              </a:rPr>
              <a:t>Products</a:t>
            </a:r>
            <a:r>
              <a:rPr lang="fr-FR" sz="1000" i="1">
                <a:latin typeface="+mj-lt"/>
              </a:rPr>
              <a:t> </a:t>
            </a:r>
            <a:r>
              <a:rPr lang="fr-FR" sz="1000" i="1" err="1">
                <a:latin typeface="+mj-lt"/>
              </a:rPr>
              <a:t>decommissioned</a:t>
            </a:r>
            <a:r>
              <a:rPr lang="fr-FR" sz="1000" i="1">
                <a:latin typeface="+mj-lt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BC0A10-C77D-406E-9FE1-C469891D4A13}"/>
              </a:ext>
            </a:extLst>
          </p:cNvPr>
          <p:cNvSpPr txBox="1"/>
          <p:nvPr/>
        </p:nvSpPr>
        <p:spPr>
          <a:xfrm>
            <a:off x="6582468" y="6625456"/>
            <a:ext cx="14137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>
                <a:latin typeface="+mj-lt"/>
              </a:rPr>
              <a:t>« New » </a:t>
            </a:r>
            <a:r>
              <a:rPr lang="fr-FR" sz="1000" i="1" err="1">
                <a:latin typeface="+mj-lt"/>
              </a:rPr>
              <a:t>products</a:t>
            </a:r>
            <a:endParaRPr lang="fr-FR" sz="1000" i="1">
              <a:latin typeface="+mj-lt"/>
            </a:endParaRPr>
          </a:p>
        </p:txBody>
      </p: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02796175-775A-4783-975E-F1573F145E8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704137" y="1320800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64B243B-87CE-4BE8-B6D7-B638D8BE092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476374" y="1235075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119CBB82-A684-4CF6-983F-C33A85DC864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033712" y="1284288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260972ED-B485-45C8-8D3F-73EFA46817A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591050" y="1274763"/>
            <a:ext cx="6905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159E5405-BAB9-4BD4-8DC1-607436A64CD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6146799" y="1287463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68AC4ADD-C371-4A3B-999B-6DB64BDD71F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725862" y="1274763"/>
            <a:ext cx="865188" cy="95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0F6B1304-F831-48A7-B2FA-9CDC3F2837CC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56095984"/>
              </p:ext>
            </p:extLst>
          </p:nvPr>
        </p:nvGraphicFramePr>
        <p:xfrm>
          <a:off x="182563" y="1152525"/>
          <a:ext cx="9507537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185" name="Espace réservé du texte 2">
            <a:extLst>
              <a:ext uri="{FF2B5EF4-FFF2-40B4-BE49-F238E27FC236}">
                <a16:creationId xmlns:a16="http://schemas.microsoft.com/office/drawing/2014/main" id="{F1C0A7B8-5031-4226-BE87-08579053317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470149" y="1182688"/>
            <a:ext cx="26035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7EBC44B-95A6-4CF3-B427-922F55CAAD98}" type="datetime'-''''''''''''''''''1''.''3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1.3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E983B6CB-FA16-4AA5-AF97-0806A4EBDEE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465388" y="2624138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9E3D5E-F83B-4611-B845-6068E59CD54A}" type="datetime'DBA''''I''''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BAI</a:t>
            </a:fld>
            <a:endParaRPr lang="fr-FR" sz="1000">
              <a:latin typeface="+mn-lt"/>
            </a:endParaRPr>
          </a:p>
        </p:txBody>
      </p:sp>
      <p:sp>
        <p:nvSpPr>
          <p:cNvPr id="60" name="Espace réservé du texte 2">
            <a:extLst>
              <a:ext uri="{FF2B5EF4-FFF2-40B4-BE49-F238E27FC236}">
                <a16:creationId xmlns:a16="http://schemas.microsoft.com/office/drawing/2014/main" id="{079A3004-8B10-4A8B-A55B-01C30D9ACF7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299075" y="2624138"/>
            <a:ext cx="830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140978-C847-450E-9D7D-3B7D3AA288C3}" type="datetime'GD''''''M'' ''''''''&amp; ''''''''T''''''''o''o''lki''''''''''''t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GDM &amp; Toolkit</a:t>
            </a:fld>
            <a:endParaRPr lang="fr-FR" sz="1000">
              <a:latin typeface="+mn-lt"/>
            </a:endParaRPr>
          </a:p>
        </p:txBody>
      </p:sp>
      <p:sp>
        <p:nvSpPr>
          <p:cNvPr id="220" name="Espace réservé du texte 2">
            <a:extLst>
              <a:ext uri="{FF2B5EF4-FFF2-40B4-BE49-F238E27FC236}">
                <a16:creationId xmlns:a16="http://schemas.microsoft.com/office/drawing/2014/main" id="{D2D2AD5C-D7D9-423C-8411-EDE40062E9E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36625" y="1495425"/>
            <a:ext cx="214313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44FD50-ADBF-42D9-AF4B-A434363DD5C2}" type="datetime'''''''1''''''''''.''''''''''''''''''''''''''''5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1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3" name="Espace réservé du texte 2">
            <a:extLst>
              <a:ext uri="{FF2B5EF4-FFF2-40B4-BE49-F238E27FC236}">
                <a16:creationId xmlns:a16="http://schemas.microsoft.com/office/drawing/2014/main" id="{3E2BACA9-BCE9-45C6-94CC-F7E252A1E93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36625" y="1196975"/>
            <a:ext cx="214313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9A49D57-F176-46FE-82FD-2E16AB79F746}" type="datetime'''''2''''''''''''.''''''''''''''''''''''''''0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2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2" name="Espace réservé du texte 2">
            <a:extLst>
              <a:ext uri="{FF2B5EF4-FFF2-40B4-BE49-F238E27FC236}">
                <a16:creationId xmlns:a16="http://schemas.microsoft.com/office/drawing/2014/main" id="{1819E44A-4100-47F7-9CBC-80805882C80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36625" y="13509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7EEF5B5-1775-4B11-B261-2421CDCE42C2}" type="datetime'''''''''5''''''''''''''''.''''''''''''''8'">
              <a:rPr lang="fr-FR" altLang="en-US" sz="1000" smtClean="0"/>
              <a:pPr/>
              <a:t>5.8</a:t>
            </a:fld>
            <a:endParaRPr lang="fr-FR" sz="1000">
              <a:latin typeface="+mn-lt"/>
            </a:endParaRPr>
          </a:p>
        </p:txBody>
      </p:sp>
      <p:sp>
        <p:nvSpPr>
          <p:cNvPr id="219" name="Espace réservé du texte 2">
            <a:extLst>
              <a:ext uri="{FF2B5EF4-FFF2-40B4-BE49-F238E27FC236}">
                <a16:creationId xmlns:a16="http://schemas.microsoft.com/office/drawing/2014/main" id="{CA278E1B-2FC1-4324-9AE9-42BA72DACFC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03288" y="20145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EBBEBB7-2799-4C6D-80E1-00C4396B3E9E}" type="datetime'''''''''2''''4''''''''''.''''''''7'''''''''">
              <a:rPr lang="fr-FR" altLang="en-US" sz="1000" smtClean="0">
                <a:solidFill>
                  <a:schemeClr val="bg1"/>
                </a:solidFill>
              </a:rPr>
              <a:pPr/>
              <a:t>24.7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A4C42241-6C7E-4D8D-AE62-1CC497C7E1F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836988" y="2624138"/>
            <a:ext cx="6429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2DC34CB-F421-46E6-812A-7A38E47B0692}" type="datetime'''''D''''''''''''''''''''''''''&amp;B'''''''' Cr''''e''dit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&amp;B Credit</a:t>
            </a:fld>
            <a:endParaRPr lang="fr-FR" sz="1000">
              <a:latin typeface="+mn-lt"/>
            </a:endParaRP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2D50909B-D276-4130-8015-7E672A7A6AC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82638" y="2624138"/>
            <a:ext cx="5222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37E9FCE-2E33-4092-9CB2-37D60E2E4845}" type="datetime'2''''0''1''''9'''''''''''' ''''(''''''''A'')'">
              <a:rPr lang="fr-FR" altLang="en-US" sz="1000" b="1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2019 (A)</a:t>
            </a:fld>
            <a:endParaRPr lang="fr-FR" sz="1000" b="1">
              <a:latin typeface="+mn-lt"/>
            </a:endParaRPr>
          </a:p>
        </p:txBody>
      </p:sp>
      <p:sp>
        <p:nvSpPr>
          <p:cNvPr id="193" name="Espace réservé du texte 2">
            <a:extLst>
              <a:ext uri="{FF2B5EF4-FFF2-40B4-BE49-F238E27FC236}">
                <a16:creationId xmlns:a16="http://schemas.microsoft.com/office/drawing/2014/main" id="{C258FE6B-4114-44CA-B4E6-9F9F1F7C90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586788" y="2624138"/>
            <a:ext cx="484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7347717-2BBA-4BB7-A228-830CFB59C425}" type="datetime'''''''''''''''''''20''''2''''''''0'' ''''''''''(''''''A'''')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2020 (A)</a:t>
            </a:fld>
            <a:endParaRPr lang="fr-FR" sz="1000">
              <a:latin typeface="+mn-lt"/>
            </a:endParaRPr>
          </a:p>
        </p:txBody>
      </p:sp>
      <p:sp>
        <p:nvSpPr>
          <p:cNvPr id="195" name="Espace réservé du texte 2">
            <a:extLst>
              <a:ext uri="{FF2B5EF4-FFF2-40B4-BE49-F238E27FC236}">
                <a16:creationId xmlns:a16="http://schemas.microsoft.com/office/drawing/2014/main" id="{0C32A895-2176-4279-B713-89D8B539ADB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051300" y="1203325"/>
            <a:ext cx="214313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CD51FCA-BF7F-4A70-8A1A-4C69A618FE60}" type="datetime'''''''''''''''''''''''''''''''''''0''''''''''''.3''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buNone/>
              </a:pPr>
              <a:t>0.3</a:t>
            </a:fld>
            <a:endParaRPr lang="fr-FR" sz="1000">
              <a:latin typeface="+mn-lt"/>
            </a:endParaRPr>
          </a:p>
        </p:txBody>
      </p:sp>
      <p:sp>
        <p:nvSpPr>
          <p:cNvPr id="198" name="Espace réservé du texte 2">
            <a:extLst>
              <a:ext uri="{FF2B5EF4-FFF2-40B4-BE49-F238E27FC236}">
                <a16:creationId xmlns:a16="http://schemas.microsoft.com/office/drawing/2014/main" id="{5BE5B79A-9592-4864-AF62-B966179B669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583237" y="1204913"/>
            <a:ext cx="260350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2B2A538-93E0-4774-9A2C-851DFAF4451A}" type="datetime'''''''''''''''-''0.''''''''''''''3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0.3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0" name="Espace réservé du texte 2">
            <a:extLst>
              <a:ext uri="{FF2B5EF4-FFF2-40B4-BE49-F238E27FC236}">
                <a16:creationId xmlns:a16="http://schemas.microsoft.com/office/drawing/2014/main" id="{5D38DE1F-093D-4ECE-93E1-1D84D885DB0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140574" y="1227138"/>
            <a:ext cx="260350" cy="152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3788DBB-4404-4BE9-BC4E-AAED31A1F34D}" type="datetime'''''''''-''0''''''''''''''''''.''''''''''9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0.9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6A5F3BD4-D574-47FE-9569-2BFBE78A5DE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791325" y="2624138"/>
            <a:ext cx="958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01E25A-85B1-4713-B777-539770C46D40}" type="datetime'''Oth''er pr''''oducts n''ot concer''ned b''y the migration'''">
              <a:rPr lang="en-US" altLang="en-US" sz="1000" smtClean="0"/>
              <a:pPr marL="0" indent="0" algn="ctr">
                <a:spcBef>
                  <a:spcPct val="0"/>
                </a:spcBef>
                <a:buNone/>
              </a:pPr>
              <a:t>Other products not concerned by the migration</a:t>
            </a:fld>
            <a:endParaRPr lang="fr-FR" sz="1000">
              <a:latin typeface="+mn-lt"/>
            </a:endParaRPr>
          </a:p>
        </p:txBody>
      </p:sp>
      <p:sp>
        <p:nvSpPr>
          <p:cNvPr id="202" name="Espace réservé du texte 2">
            <a:extLst>
              <a:ext uri="{FF2B5EF4-FFF2-40B4-BE49-F238E27FC236}">
                <a16:creationId xmlns:a16="http://schemas.microsoft.com/office/drawing/2014/main" id="{8829B546-A902-406A-A0AD-A95D8FCEC3B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939213" y="1258888"/>
            <a:ext cx="214313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C0CF40-F124-464F-8282-98BDA622FE5B}" type="datetime'''0''''''''.''''''''''''''''''7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0.7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6" name="Espace réservé du texte 2">
            <a:extLst>
              <a:ext uri="{FF2B5EF4-FFF2-40B4-BE49-F238E27FC236}">
                <a16:creationId xmlns:a16="http://schemas.microsoft.com/office/drawing/2014/main" id="{44054CAB-9823-4C5D-8375-633C8C48325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505825" y="13938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0B82DD-07D4-4CD4-B76C-B56121CB3A21}" type="datetime'''6''''''''''''''''.''''''''''''''''''''0'''''''''">
              <a:rPr lang="fr-FR" altLang="en-US" sz="1000" smtClean="0"/>
              <a:pPr/>
              <a:t>6.0</a:t>
            </a:fld>
            <a:endParaRPr lang="fr-FR" sz="1000">
              <a:latin typeface="+mn-lt"/>
            </a:endParaRPr>
          </a:p>
        </p:txBody>
      </p:sp>
      <p:sp>
        <p:nvSpPr>
          <p:cNvPr id="205" name="Espace réservé du texte 2">
            <a:extLst>
              <a:ext uri="{FF2B5EF4-FFF2-40B4-BE49-F238E27FC236}">
                <a16:creationId xmlns:a16="http://schemas.microsoft.com/office/drawing/2014/main" id="{691FEF0C-C85F-4A5C-A890-50298F69086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721725" y="1536700"/>
            <a:ext cx="214313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2AD56FD-BD41-4654-B756-F8EFB6668D0D}" type="datetime'1''''''''''''''''''''''''.''''''''''''''''''2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1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4" name="Espace réservé du texte 2">
            <a:extLst>
              <a:ext uri="{FF2B5EF4-FFF2-40B4-BE49-F238E27FC236}">
                <a16:creationId xmlns:a16="http://schemas.microsoft.com/office/drawing/2014/main" id="{C0CFB379-309E-427D-8159-C9C65670CEB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688388" y="2032000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7B7BE6E-04F1-4D69-A412-652C1D841031}" type="datetime'''''''''2''''''''''3''''''''''.''''''''''''8'''''">
              <a:rPr lang="fr-FR" altLang="en-US" sz="1000" smtClean="0">
                <a:solidFill>
                  <a:schemeClr val="bg1"/>
                </a:solidFill>
              </a:rPr>
              <a:pPr/>
              <a:t>23.8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6BB7916F-8D04-479D-BB06-36EA6577D4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90588" y="1044575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E43C550-C846-46DB-8B1B-5865F6DAA670}" type="datetime'''34''''''.0''''''''''''''''''''''''''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34.0</a:t>
            </a:fld>
            <a:endParaRPr lang="fr-FR" sz="1000" b="1">
              <a:latin typeface="+mn-lt"/>
            </a:endParaRPr>
          </a:p>
        </p:txBody>
      </p:sp>
      <p:sp>
        <p:nvSpPr>
          <p:cNvPr id="123" name="Espace réservé du texte 2">
            <a:extLst>
              <a:ext uri="{FF2B5EF4-FFF2-40B4-BE49-F238E27FC236}">
                <a16:creationId xmlns:a16="http://schemas.microsoft.com/office/drawing/2014/main" id="{D740F71A-BD85-4962-8597-EA9A65141D1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675688" y="1106488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225241-CD42-4CD7-9BD5-61205A51CC7D}" type="datetime'''''''''3''1''''''''''''''''''''''''''.''8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31.8</a:t>
            </a:fld>
            <a:endParaRPr lang="fr-FR" sz="1000" b="1">
              <a:latin typeface="+mn-lt"/>
            </a:endParaRPr>
          </a:p>
        </p:txBody>
      </p:sp>
      <p:sp>
        <p:nvSpPr>
          <p:cNvPr id="364" name="Rectangle : coins arrondis 199">
            <a:extLst>
              <a:ext uri="{FF2B5EF4-FFF2-40B4-BE49-F238E27FC236}">
                <a16:creationId xmlns:a16="http://schemas.microsoft.com/office/drawing/2014/main" id="{8451D16B-D84D-482A-A648-2750F628332B}"/>
              </a:ext>
            </a:extLst>
          </p:cNvPr>
          <p:cNvSpPr/>
          <p:nvPr/>
        </p:nvSpPr>
        <p:spPr bwMode="auto">
          <a:xfrm>
            <a:off x="8508412" y="196035"/>
            <a:ext cx="335598" cy="21213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5" name="Rectangle : coins arrondis 200">
            <a:extLst>
              <a:ext uri="{FF2B5EF4-FFF2-40B4-BE49-F238E27FC236}">
                <a16:creationId xmlns:a16="http://schemas.microsoft.com/office/drawing/2014/main" id="{7B9D39F4-D9E1-44B7-A08C-EF3E7594E2EB}"/>
              </a:ext>
            </a:extLst>
          </p:cNvPr>
          <p:cNvSpPr/>
          <p:nvPr/>
        </p:nvSpPr>
        <p:spPr bwMode="auto">
          <a:xfrm>
            <a:off x="8923225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6" name="Rectangle : coins arrondis 201">
            <a:extLst>
              <a:ext uri="{FF2B5EF4-FFF2-40B4-BE49-F238E27FC236}">
                <a16:creationId xmlns:a16="http://schemas.microsoft.com/office/drawing/2014/main" id="{20775784-4961-4809-A261-CC17F3A47D0C}"/>
              </a:ext>
            </a:extLst>
          </p:cNvPr>
          <p:cNvSpPr/>
          <p:nvPr/>
        </p:nvSpPr>
        <p:spPr bwMode="auto">
          <a:xfrm>
            <a:off x="9338038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7" name="ZoneTexte 18">
            <a:extLst>
              <a:ext uri="{FF2B5EF4-FFF2-40B4-BE49-F238E27FC236}">
                <a16:creationId xmlns:a16="http://schemas.microsoft.com/office/drawing/2014/main" id="{39AFC2BA-3A2E-4D08-B9F4-61D23BD9FDA2}"/>
              </a:ext>
            </a:extLst>
          </p:cNvPr>
          <p:cNvSpPr txBox="1"/>
          <p:nvPr/>
        </p:nvSpPr>
        <p:spPr>
          <a:xfrm>
            <a:off x="8448150" y="-11528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err="1">
                <a:solidFill>
                  <a:schemeClr val="tx2"/>
                </a:solidFill>
                <a:latin typeface="Trebuchet MS" panose="020B0603020202020204" pitchFamily="34" charset="0"/>
              </a:rPr>
              <a:t>Altares</a:t>
            </a:r>
            <a:r>
              <a:rPr lang="en-GB" sz="800">
                <a:solidFill>
                  <a:schemeClr val="tx2"/>
                </a:solidFill>
                <a:latin typeface="Trebuchet MS" panose="020B0603020202020204" pitchFamily="34" charset="0"/>
              </a:rPr>
              <a:t>’ offering</a:t>
            </a:r>
          </a:p>
        </p:txBody>
      </p:sp>
      <p:pic>
        <p:nvPicPr>
          <p:cNvPr id="368" name="Graphique 128" descr="Jauge">
            <a:extLst>
              <a:ext uri="{FF2B5EF4-FFF2-40B4-BE49-F238E27FC236}">
                <a16:creationId xmlns:a16="http://schemas.microsoft.com/office/drawing/2014/main" id="{268BD060-9FCB-4D62-ADC6-651D153060D3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8553764" y="187516"/>
            <a:ext cx="234953" cy="218224"/>
          </a:xfrm>
          <a:prstGeom prst="rect">
            <a:avLst/>
          </a:prstGeom>
          <a:effectLst/>
        </p:spPr>
      </p:pic>
      <p:pic>
        <p:nvPicPr>
          <p:cNvPr id="369" name="Graphique 90" descr="Poignée de main">
            <a:extLst>
              <a:ext uri="{FF2B5EF4-FFF2-40B4-BE49-F238E27FC236}">
                <a16:creationId xmlns:a16="http://schemas.microsoft.com/office/drawing/2014/main" id="{633B5CDB-D3DE-4162-B9EF-7BD317CCA802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8960868" y="152880"/>
            <a:ext cx="256313" cy="287496"/>
          </a:xfrm>
          <a:prstGeom prst="rect">
            <a:avLst/>
          </a:prstGeom>
          <a:effectLst/>
        </p:spPr>
      </p:pic>
      <p:pic>
        <p:nvPicPr>
          <p:cNvPr id="370" name="Graphique 74" descr="Mégaphone">
            <a:extLst>
              <a:ext uri="{FF2B5EF4-FFF2-40B4-BE49-F238E27FC236}">
                <a16:creationId xmlns:a16="http://schemas.microsoft.com/office/drawing/2014/main" id="{FFD71595-106D-48B7-B1D3-F72940A76F46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9389331" y="181519"/>
            <a:ext cx="233011" cy="216420"/>
          </a:xfrm>
          <a:prstGeom prst="rect">
            <a:avLst/>
          </a:prstGeom>
          <a:effectLst/>
        </p:spPr>
      </p:pic>
      <p:sp>
        <p:nvSpPr>
          <p:cNvPr id="375" name="ZoneTexte 18">
            <a:extLst>
              <a:ext uri="{FF2B5EF4-FFF2-40B4-BE49-F238E27FC236}">
                <a16:creationId xmlns:a16="http://schemas.microsoft.com/office/drawing/2014/main" id="{75237AA5-C2C5-4937-A3E0-56A8D0BA8F46}"/>
              </a:ext>
            </a:extLst>
          </p:cNvPr>
          <p:cNvSpPr txBox="1"/>
          <p:nvPr/>
        </p:nvSpPr>
        <p:spPr>
          <a:xfrm>
            <a:off x="8448150" y="361171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latin typeface="Trebuchet MS" panose="020B0603020202020204" pitchFamily="34" charset="0"/>
              </a:rPr>
              <a:t>Product dynamics</a:t>
            </a:r>
          </a:p>
        </p:txBody>
      </p:sp>
      <p:pic>
        <p:nvPicPr>
          <p:cNvPr id="101" name="Picture 2" descr="Drapeau France">
            <a:extLst>
              <a:ext uri="{FF2B5EF4-FFF2-40B4-BE49-F238E27FC236}">
                <a16:creationId xmlns:a16="http://schemas.microsoft.com/office/drawing/2014/main" id="{C18B524C-6004-4F21-B925-0E73B682DC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06" b="16757"/>
          <a:stretch/>
        </p:blipFill>
        <p:spPr bwMode="auto">
          <a:xfrm>
            <a:off x="9703696" y="62893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376F706B-03FC-4C35-8D14-C9A81D605BB1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033713" y="3368675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7B5AD3C6-74EF-4226-B594-AFD4038E5C34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476375" y="3359150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FD896AA6-4881-4426-9CBB-E4DCD5069AA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591050" y="3370263"/>
            <a:ext cx="6905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2143D20F-067E-40D9-A79B-80C1F2BCA7B9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6146800" y="3382963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85ABBFCF-F0F9-4646-BFB7-0CC627430CBC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7704138" y="3417888"/>
            <a:ext cx="6921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4F1A31C2-2D55-4DD2-A91C-354B6357F50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2168525" y="3359150"/>
            <a:ext cx="865188" cy="95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3329349-B322-4717-9977-C091552250CF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3725863" y="3368675"/>
            <a:ext cx="865187" cy="158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C57FBD1B-D906-426E-A1C9-62A6BDF62C38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887693660"/>
              </p:ext>
            </p:extLst>
          </p:nvPr>
        </p:nvGraphicFramePr>
        <p:xfrm>
          <a:off x="182563" y="3276600"/>
          <a:ext cx="9507537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229" name="Espace réservé du texte 2">
            <a:extLst>
              <a:ext uri="{FF2B5EF4-FFF2-40B4-BE49-F238E27FC236}">
                <a16:creationId xmlns:a16="http://schemas.microsoft.com/office/drawing/2014/main" id="{17474289-60F2-4EFB-BE81-2E5226DAE21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675688" y="3224213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123F8CF-C003-4067-B98F-A6C0EE5AF9AD}" type="datetime'''''''3''''''''''''''''2''''''''''''.5''''''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32.5</a:t>
            </a:fld>
            <a:endParaRPr lang="fr-FR" sz="1000" b="1">
              <a:latin typeface="+mn-lt"/>
            </a:endParaRPr>
          </a:p>
        </p:txBody>
      </p:sp>
      <p:sp>
        <p:nvSpPr>
          <p:cNvPr id="230" name="Espace réservé du texte 2">
            <a:extLst>
              <a:ext uri="{FF2B5EF4-FFF2-40B4-BE49-F238E27FC236}">
                <a16:creationId xmlns:a16="http://schemas.microsoft.com/office/drawing/2014/main" id="{22DBFF47-8D64-4256-A62F-D5BEC4232EE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465388" y="4748213"/>
            <a:ext cx="2714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41FF8F-3C56-4E90-80BC-5C8BE63B4FC4}" type="datetime'D''''B''''''''A''''''I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BAI</a:t>
            </a:fld>
            <a:endParaRPr lang="fr-FR" sz="1000">
              <a:latin typeface="+mn-lt"/>
            </a:endParaRPr>
          </a:p>
        </p:txBody>
      </p:sp>
      <p:sp>
        <p:nvSpPr>
          <p:cNvPr id="221" name="Espace réservé du texte 2">
            <a:extLst>
              <a:ext uri="{FF2B5EF4-FFF2-40B4-BE49-F238E27FC236}">
                <a16:creationId xmlns:a16="http://schemas.microsoft.com/office/drawing/2014/main" id="{4F2BC0FE-EE5C-405C-AEC0-6588A694E67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82638" y="4748213"/>
            <a:ext cx="5222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46A693C-26FE-41E4-8997-B2F76144F301}" type="datetime'2''''''''''''''019'''''''''''''''' ''(''''''A'''''''')''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2019 (A)</a:t>
            </a:fld>
            <a:endParaRPr lang="fr-FR" sz="1000" b="1">
              <a:latin typeface="+mn-lt"/>
            </a:endParaRPr>
          </a:p>
        </p:txBody>
      </p:sp>
      <p:sp>
        <p:nvSpPr>
          <p:cNvPr id="239" name="Espace réservé du texte 2">
            <a:extLst>
              <a:ext uri="{FF2B5EF4-FFF2-40B4-BE49-F238E27FC236}">
                <a16:creationId xmlns:a16="http://schemas.microsoft.com/office/drawing/2014/main" id="{5A50C174-CC24-4ED1-8CC4-6268E0E9EFB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027487" y="3292475"/>
            <a:ext cx="260350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6E2E381-3E6A-4904-984D-AD832AF97C14}" type="datetime'''''''''''''''''''''-0''''''.''''''''''1''''''''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buNone/>
              </a:pPr>
              <a:t>-0.1</a:t>
            </a:fld>
            <a:endParaRPr lang="fr-FR" sz="1000">
              <a:latin typeface="+mn-lt"/>
            </a:endParaRPr>
          </a:p>
        </p:txBody>
      </p:sp>
      <p:sp>
        <p:nvSpPr>
          <p:cNvPr id="227" name="Espace réservé du texte 2">
            <a:extLst>
              <a:ext uri="{FF2B5EF4-FFF2-40B4-BE49-F238E27FC236}">
                <a16:creationId xmlns:a16="http://schemas.microsoft.com/office/drawing/2014/main" id="{6D9C64D9-4443-4412-8135-A58DBB11A17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03288" y="413861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C2CDA4-EA8D-48F4-8C1F-E17EE8B866EA}" type="datetime'''''''''''''''''''''''''2''''''''''''4.''''''''''''7'''''''">
              <a:rPr lang="fr-FR" altLang="en-US" sz="1000" smtClean="0">
                <a:solidFill>
                  <a:schemeClr val="bg1"/>
                </a:solidFill>
              </a:rPr>
              <a:pPr/>
              <a:t>24.7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5" name="Espace réservé du texte 2">
            <a:extLst>
              <a:ext uri="{FF2B5EF4-FFF2-40B4-BE49-F238E27FC236}">
                <a16:creationId xmlns:a16="http://schemas.microsoft.com/office/drawing/2014/main" id="{6CB9E307-83C3-4287-B1A7-459A1E5DC11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936625" y="3321050"/>
            <a:ext cx="214313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AE6DD38-E720-495A-9B16-E26616CAE37B}" type="datetime'''2''''''''''.''''''''''''''''''''''''''''0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2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7" name="Espace réservé du texte 2">
            <a:extLst>
              <a:ext uri="{FF2B5EF4-FFF2-40B4-BE49-F238E27FC236}">
                <a16:creationId xmlns:a16="http://schemas.microsoft.com/office/drawing/2014/main" id="{AF67E44B-AB1A-46E1-9965-352B1F7AE28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470149" y="3287713"/>
            <a:ext cx="26035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E90D0C-0333-461B-9300-BEA3946D3841}" type="datetime'''-''''0''''''''''''.2''''''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0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6" name="Espace réservé du texte 2">
            <a:extLst>
              <a:ext uri="{FF2B5EF4-FFF2-40B4-BE49-F238E27FC236}">
                <a16:creationId xmlns:a16="http://schemas.microsoft.com/office/drawing/2014/main" id="{D6823F04-8E61-488F-AFCD-36BDD4F2799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936625" y="34750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D1E7E9-AEB0-4DC2-8F3C-5A61C0909BA8}" type="datetime'''''5''''''''''''''''''''''''.''''''''8'''''''''">
              <a:rPr lang="fr-FR" altLang="en-US" sz="1000" smtClean="0"/>
              <a:pPr/>
              <a:t>5.8</a:t>
            </a:fld>
            <a:endParaRPr lang="fr-FR" sz="1000">
              <a:latin typeface="+mn-lt"/>
            </a:endParaRPr>
          </a:p>
        </p:txBody>
      </p:sp>
      <p:sp>
        <p:nvSpPr>
          <p:cNvPr id="228" name="Espace réservé du texte 2">
            <a:extLst>
              <a:ext uri="{FF2B5EF4-FFF2-40B4-BE49-F238E27FC236}">
                <a16:creationId xmlns:a16="http://schemas.microsoft.com/office/drawing/2014/main" id="{57A7CEC4-7EC1-40B5-9109-0D993259533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36625" y="3619500"/>
            <a:ext cx="214313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CF63183-C0CF-4851-B461-38C0EADDC3A6}" type="datetime'''1''''''''''''''''''''''.''''''''''''''5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1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8" name="Espace réservé du texte 2">
            <a:extLst>
              <a:ext uri="{FF2B5EF4-FFF2-40B4-BE49-F238E27FC236}">
                <a16:creationId xmlns:a16="http://schemas.microsoft.com/office/drawing/2014/main" id="{99B0FB8F-3864-4E2E-8AF0-F0EC9E262FA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836988" y="4748213"/>
            <a:ext cx="6429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9BABA72-85A5-407E-8125-5A9E6B922667}" type="datetime'D&amp;B'''' C''''''''''''''r''''''e''''''''d''''i''''''''t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&amp;B Credit</a:t>
            </a:fld>
            <a:endParaRPr lang="fr-FR" sz="1000">
              <a:latin typeface="+mn-lt"/>
            </a:endParaRPr>
          </a:p>
        </p:txBody>
      </p:sp>
      <p:sp>
        <p:nvSpPr>
          <p:cNvPr id="240" name="Espace réservé du texte 2">
            <a:extLst>
              <a:ext uri="{FF2B5EF4-FFF2-40B4-BE49-F238E27FC236}">
                <a16:creationId xmlns:a16="http://schemas.microsoft.com/office/drawing/2014/main" id="{23C64EDA-26AF-447A-A69D-3E3B36FDDFD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583237" y="3300413"/>
            <a:ext cx="260350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293764C-BDCA-4FF5-BD6F-872A99B04D38}" type="datetime'''''-''''''''''''''''''''''''''''0''.''''''3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0.3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1" name="Espace réservé du texte 2">
            <a:extLst>
              <a:ext uri="{FF2B5EF4-FFF2-40B4-BE49-F238E27FC236}">
                <a16:creationId xmlns:a16="http://schemas.microsoft.com/office/drawing/2014/main" id="{AF590AAB-E9AB-4534-BF4F-4DDBD8893458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299075" y="4748213"/>
            <a:ext cx="830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A9DAB1-F0C6-44C4-BC0C-6FA4084AD6A2}" type="datetime'GDM'''' &amp;'''' ''''T''o''''''''''''ol''''k''''''i''''t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GDM &amp; Toolkit</a:t>
            </a:fld>
            <a:endParaRPr lang="fr-FR" sz="1000">
              <a:latin typeface="+mn-lt"/>
            </a:endParaRPr>
          </a:p>
        </p:txBody>
      </p:sp>
      <p:sp>
        <p:nvSpPr>
          <p:cNvPr id="241" name="Espace réservé du texte 2">
            <a:extLst>
              <a:ext uri="{FF2B5EF4-FFF2-40B4-BE49-F238E27FC236}">
                <a16:creationId xmlns:a16="http://schemas.microsoft.com/office/drawing/2014/main" id="{0AFCE273-362E-4FFB-95E3-4A60CA51AA9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140574" y="3324225"/>
            <a:ext cx="260350" cy="152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4D8277F-0752-4CD7-ACA8-1037964E1D8B}" type="datetime'''''''-''0''''''''''''.''''''''''''''''''9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0.9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2" name="Espace réservé du texte 2">
            <a:extLst>
              <a:ext uri="{FF2B5EF4-FFF2-40B4-BE49-F238E27FC236}">
                <a16:creationId xmlns:a16="http://schemas.microsoft.com/office/drawing/2014/main" id="{36D5DAC6-3C0B-4767-8641-763347858B5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791325" y="4748213"/>
            <a:ext cx="958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DCC4F1-B4BB-41DD-A7CA-A3C0BB209446}" type="datetime'Othe''''r p''roducts no''''t conc''''erned by th''e migration'">
              <a:rPr lang="en-US" altLang="en-US" sz="1000" smtClean="0"/>
              <a:pPr marL="0" indent="0" algn="ctr">
                <a:spcBef>
                  <a:spcPct val="0"/>
                </a:spcBef>
                <a:buNone/>
              </a:pPr>
              <a:t>Other products not concerned by the migration</a:t>
            </a:fld>
            <a:endParaRPr lang="fr-FR" sz="1000">
              <a:latin typeface="+mn-lt"/>
            </a:endParaRPr>
          </a:p>
        </p:txBody>
      </p:sp>
      <p:sp>
        <p:nvSpPr>
          <p:cNvPr id="242" name="Espace réservé du texte 2">
            <a:extLst>
              <a:ext uri="{FF2B5EF4-FFF2-40B4-BE49-F238E27FC236}">
                <a16:creationId xmlns:a16="http://schemas.microsoft.com/office/drawing/2014/main" id="{F49738C4-2927-49F4-838F-0C335861A75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721726" y="3376613"/>
            <a:ext cx="214313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29EDC0-40F5-4998-824D-605A0A7234BB}" type="datetime'''''''''''1''''''''''''''''''''.''''''8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1.8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5" name="Espace réservé du texte 2">
            <a:extLst>
              <a:ext uri="{FF2B5EF4-FFF2-40B4-BE49-F238E27FC236}">
                <a16:creationId xmlns:a16="http://schemas.microsoft.com/office/drawing/2014/main" id="{1B20CB59-13A1-4167-B8A8-AFAF039A8DA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721725" y="352425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95E9116-5DA5-4676-AC1B-0859A944C7D3}" type="datetime'''''5''''''''''''''''''''''''''''.''''''''''''''''''7'''''''">
              <a:rPr lang="fr-FR" altLang="en-US" sz="1000" smtClean="0"/>
              <a:pPr/>
              <a:t>5.7</a:t>
            </a:fld>
            <a:endParaRPr lang="fr-FR" sz="1000">
              <a:latin typeface="+mn-lt"/>
            </a:endParaRPr>
          </a:p>
        </p:txBody>
      </p:sp>
      <p:sp>
        <p:nvSpPr>
          <p:cNvPr id="244" name="Espace réservé du texte 2">
            <a:extLst>
              <a:ext uri="{FF2B5EF4-FFF2-40B4-BE49-F238E27FC236}">
                <a16:creationId xmlns:a16="http://schemas.microsoft.com/office/drawing/2014/main" id="{99526C58-5786-4E63-A52B-162856B951C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721725" y="3660775"/>
            <a:ext cx="214313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77682E5-5352-46FD-84FC-84F07306971E}" type="datetime'''''''''''''''''''1''''''''''.''2''''''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1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3" name="Espace réservé du texte 2">
            <a:extLst>
              <a:ext uri="{FF2B5EF4-FFF2-40B4-BE49-F238E27FC236}">
                <a16:creationId xmlns:a16="http://schemas.microsoft.com/office/drawing/2014/main" id="{F729DE11-8B71-4992-8CBE-76A0BC27E18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688388" y="4156075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F720C3-CBFC-4338-A538-4209DAAEC500}" type="datetime'''''''''''2''''''''''''''''''''''''''''''3''.''8'''">
              <a:rPr lang="fr-FR" altLang="en-US" sz="1000" smtClean="0">
                <a:solidFill>
                  <a:schemeClr val="bg1"/>
                </a:solidFill>
              </a:rPr>
              <a:pPr/>
              <a:t>23.8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8" name="Espace réservé du texte 2">
            <a:extLst>
              <a:ext uri="{FF2B5EF4-FFF2-40B4-BE49-F238E27FC236}">
                <a16:creationId xmlns:a16="http://schemas.microsoft.com/office/drawing/2014/main" id="{9868E0E0-DA4A-4791-A0FF-3DFA2A34EB1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586788" y="4748213"/>
            <a:ext cx="484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40EECB9-32A4-4F6A-8806-0C9AA57B60AE}" type="datetime'2''''0''''2''''0'''''''''''' (''''A'''''''''''''')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2020 (A)</a:t>
            </a:fld>
            <a:endParaRPr lang="fr-FR" sz="1000">
              <a:latin typeface="+mn-lt"/>
            </a:endParaRPr>
          </a:p>
        </p:txBody>
      </p:sp>
      <p:sp>
        <p:nvSpPr>
          <p:cNvPr id="233" name="Espace réservé du texte 2">
            <a:extLst>
              <a:ext uri="{FF2B5EF4-FFF2-40B4-BE49-F238E27FC236}">
                <a16:creationId xmlns:a16="http://schemas.microsoft.com/office/drawing/2014/main" id="{EBF51FFC-C880-4B81-BE21-5772A6EEC24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90588" y="3168650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EC8F486-92C0-47DB-A735-F0A9006B80C2}" type="datetime'''''3''''''''''''''''4''''''''''''''''''.''0''''''''''''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34.0</a:t>
            </a:fld>
            <a:endParaRPr lang="fr-FR" sz="1000" b="1">
              <a:latin typeface="+mn-lt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3AF71D78-174F-4F63-BDFC-9DD9655B1404}"/>
              </a:ext>
            </a:extLst>
          </p:cNvPr>
          <p:cNvSpPr/>
          <p:nvPr/>
        </p:nvSpPr>
        <p:spPr bwMode="auto">
          <a:xfrm>
            <a:off x="2165350" y="1128373"/>
            <a:ext cx="865188" cy="316000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502A205-B594-4A8A-ACDD-D5E9FCC4CFC6}"/>
              </a:ext>
            </a:extLst>
          </p:cNvPr>
          <p:cNvSpPr/>
          <p:nvPr/>
        </p:nvSpPr>
        <p:spPr bwMode="auto">
          <a:xfrm>
            <a:off x="3719514" y="1116886"/>
            <a:ext cx="856037" cy="327488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62E7C639-A7EF-48FE-A1F8-620344B96524}"/>
              </a:ext>
            </a:extLst>
          </p:cNvPr>
          <p:cNvCxnSpPr>
            <a:cxnSpLocks/>
            <a:stCxn id="153" idx="3"/>
            <a:endCxn id="154" idx="1"/>
          </p:cNvCxnSpPr>
          <p:nvPr/>
        </p:nvCxnSpPr>
        <p:spPr bwMode="auto">
          <a:xfrm flipV="1">
            <a:off x="3030538" y="1280630"/>
            <a:ext cx="688976" cy="574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A4CB902B-5C13-4C41-960F-F5E51949D349}"/>
              </a:ext>
            </a:extLst>
          </p:cNvPr>
          <p:cNvSpPr txBox="1"/>
          <p:nvPr/>
        </p:nvSpPr>
        <p:spPr>
          <a:xfrm flipH="1">
            <a:off x="7904741" y="6009079"/>
            <a:ext cx="17593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>
                <a:solidFill>
                  <a:schemeClr val="accent1"/>
                </a:solidFill>
                <a:latin typeface="+mj-lt"/>
              </a:rPr>
              <a:t>See calculation details slide 6</a:t>
            </a:r>
          </a:p>
        </p:txBody>
      </p:sp>
      <p:pic>
        <p:nvPicPr>
          <p:cNvPr id="166" name="Graphic 165" descr="Magnifying glass with solid fill">
            <a:extLst>
              <a:ext uri="{FF2B5EF4-FFF2-40B4-BE49-F238E27FC236}">
                <a16:creationId xmlns:a16="http://schemas.microsoft.com/office/drawing/2014/main" id="{4B44F360-C5B5-45A1-9361-FF6246E385FD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 flipH="1">
            <a:off x="7527861" y="6020694"/>
            <a:ext cx="376880" cy="376880"/>
          </a:xfrm>
          <a:prstGeom prst="rect">
            <a:avLst/>
          </a:prstGeom>
        </p:spPr>
      </p:pic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8116144E-4466-46D8-91DC-37E10E19BC57}"/>
              </a:ext>
            </a:extLst>
          </p:cNvPr>
          <p:cNvSpPr/>
          <p:nvPr/>
        </p:nvSpPr>
        <p:spPr bwMode="auto">
          <a:xfrm>
            <a:off x="2165350" y="3813176"/>
            <a:ext cx="770797" cy="442914"/>
          </a:xfrm>
          <a:prstGeom prst="wedgeRectCallout">
            <a:avLst>
              <a:gd name="adj1" fmla="val -10202"/>
              <a:gd name="adj2" fmla="val -9243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gration </a:t>
            </a:r>
            <a:r>
              <a:rPr kumimoji="0" lang="fr-FR" sz="9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effect</a:t>
            </a: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: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€-1.1m</a:t>
            </a:r>
          </a:p>
        </p:txBody>
      </p:sp>
      <p:sp>
        <p:nvSpPr>
          <p:cNvPr id="98" name="Speech Bubble: Rectangle 97">
            <a:extLst>
              <a:ext uri="{FF2B5EF4-FFF2-40B4-BE49-F238E27FC236}">
                <a16:creationId xmlns:a16="http://schemas.microsoft.com/office/drawing/2014/main" id="{53C9026C-2EAB-4C87-8A63-E3961AE33A05}"/>
              </a:ext>
            </a:extLst>
          </p:cNvPr>
          <p:cNvSpPr/>
          <p:nvPr/>
        </p:nvSpPr>
        <p:spPr bwMode="auto">
          <a:xfrm>
            <a:off x="3836988" y="3813176"/>
            <a:ext cx="770797" cy="442914"/>
          </a:xfrm>
          <a:prstGeom prst="wedgeRectCallout">
            <a:avLst>
              <a:gd name="adj1" fmla="val -10202"/>
              <a:gd name="adj2" fmla="val -9243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gration </a:t>
            </a:r>
            <a:r>
              <a:rPr kumimoji="0" lang="fr-FR" sz="9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effect</a:t>
            </a: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: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€+0.3m</a:t>
            </a:r>
          </a:p>
        </p:txBody>
      </p:sp>
    </p:spTree>
    <p:extLst>
      <p:ext uri="{BB962C8B-B14F-4D97-AF65-F5344CB8AC3E}">
        <p14:creationId xmlns:p14="http://schemas.microsoft.com/office/powerpoint/2010/main" val="186802267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77857E2-6DF1-48EF-BB3F-BB1531140D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45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416" imgH="423" progId="TCLayout.ActiveDocument.1">
                  <p:embed/>
                </p:oleObj>
              </mc:Choice>
              <mc:Fallback>
                <p:oleObj name="think-cell Slide" r:id="rId4" imgW="416" imgH="4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77857E2-6DF1-48EF-BB3F-BB1531140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FC02BAD-456B-4773-9A5D-8C6871E49FAB}"/>
              </a:ext>
            </a:extLst>
          </p:cNvPr>
          <p:cNvSpPr/>
          <p:nvPr/>
        </p:nvSpPr>
        <p:spPr bwMode="auto">
          <a:xfrm>
            <a:off x="174300" y="796955"/>
            <a:ext cx="9540000" cy="43035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576B3F-3BF3-47ED-8392-95410BFB7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00" y="147600"/>
            <a:ext cx="8054475" cy="684000"/>
          </a:xfrm>
        </p:spPr>
        <p:txBody>
          <a:bodyPr vert="horz"/>
          <a:lstStyle/>
          <a:p>
            <a:r>
              <a:rPr lang="en-GB" sz="1600">
                <a:latin typeface="Trebuchet MS" pitchFamily="34" charset="0"/>
              </a:rPr>
              <a:t>In Benelux, the migration has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increased the churn and down-sell of DBAI and </a:t>
            </a:r>
            <a:r>
              <a:rPr lang="en-GB" sz="1600" err="1">
                <a:solidFill>
                  <a:schemeClr val="tx2"/>
                </a:solidFill>
                <a:latin typeface="Trebuchet MS" pitchFamily="34" charset="0"/>
              </a:rPr>
              <a:t>DNBi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 </a:t>
            </a:r>
            <a:r>
              <a:rPr lang="en-GB" sz="1600">
                <a:latin typeface="Trebuchet MS" pitchFamily="34" charset="0"/>
              </a:rPr>
              <a:t>while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increasing the D&amp;B Credit bookings</a:t>
            </a:r>
            <a:r>
              <a:rPr lang="en-GB" sz="1600">
                <a:latin typeface="Trebuchet MS" pitchFamily="34" charset="0"/>
              </a:rPr>
              <a:t>, inducing a c.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€-3.5m effect for 2020 </a:t>
            </a:r>
            <a:r>
              <a:rPr lang="en-GB" sz="1600">
                <a:latin typeface="Trebuchet MS" pitchFamily="34" charset="0"/>
              </a:rPr>
              <a:t>(1/2)</a:t>
            </a:r>
            <a:br>
              <a:rPr lang="en-GB"/>
            </a:b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22942-C2FD-4CBD-8EDF-A48063B3C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274" y="6580025"/>
            <a:ext cx="798752" cy="244800"/>
          </a:xfrm>
        </p:spPr>
        <p:txBody>
          <a:bodyPr/>
          <a:lstStyle/>
          <a:p>
            <a:endParaRPr lang="fr-FR"/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40DF5000-C39C-49DC-9049-89450CA51B8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02350958"/>
                  </p:ext>
                </p:extLst>
              </p:nvPr>
            </p:nvGraphicFramePr>
            <p:xfrm>
              <a:off x="297031" y="1002616"/>
              <a:ext cx="9294539" cy="191269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40DF5000-C39C-49DC-9049-89450CA51B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97031" y="1002616"/>
                <a:ext cx="9294539" cy="191269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03894287-9D6A-46B2-B5B8-8EBC8033CF5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15884414"/>
                  </p:ext>
                </p:extLst>
              </p:nvPr>
            </p:nvGraphicFramePr>
            <p:xfrm>
              <a:off x="297031" y="3113798"/>
              <a:ext cx="9294539" cy="191269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03894287-9D6A-46B2-B5B8-8EBC8033CF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97031" y="3113798"/>
                <a:ext cx="9294539" cy="191269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Rectangle 9">
            <a:extLst>
              <a:ext uri="{FF2B5EF4-FFF2-40B4-BE49-F238E27FC236}">
                <a16:creationId xmlns:a16="http://schemas.microsoft.com/office/drawing/2014/main" id="{33FAE982-EF25-48C7-A786-AC0F0510B8D2}"/>
              </a:ext>
            </a:extLst>
          </p:cNvPr>
          <p:cNvSpPr/>
          <p:nvPr/>
        </p:nvSpPr>
        <p:spPr bwMode="auto">
          <a:xfrm>
            <a:off x="297031" y="796955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ookings bridge in Benelux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D2F3C3-FA5C-421B-87D7-38B6AB2BF45B}"/>
              </a:ext>
            </a:extLst>
          </p:cNvPr>
          <p:cNvSpPr/>
          <p:nvPr/>
        </p:nvSpPr>
        <p:spPr bwMode="auto">
          <a:xfrm>
            <a:off x="297031" y="2920443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ookings bridge in Benelux without migration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3FF9CD-B1BC-4799-A632-81B0B66892EF}"/>
              </a:ext>
            </a:extLst>
          </p:cNvPr>
          <p:cNvSpPr/>
          <p:nvPr/>
        </p:nvSpPr>
        <p:spPr bwMode="auto">
          <a:xfrm>
            <a:off x="165600" y="5351088"/>
            <a:ext cx="9548700" cy="10581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ctr" anchorCtr="0" compatLnSpc="1">
            <a:prstTxWarp prst="textNoShape">
              <a:avLst/>
            </a:prstTxWarp>
          </a:bodyPr>
          <a:lstStyle/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ncludes the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artificially high churn and down-sell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created by the migration on </a:t>
            </a:r>
            <a:r>
              <a:rPr lang="en-GB" sz="1000" err="1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DNBi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 and DBAI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. We have considered that the “normal </a:t>
            </a:r>
            <a:r>
              <a:rPr lang="en-GB" sz="1000" err="1">
                <a:latin typeface="Trebuchet MS" panose="020B0603020202020204" pitchFamily="34" charset="0"/>
                <a:ea typeface="Calibri" panose="020F0502020204030204" pitchFamily="34" charset="0"/>
              </a:rPr>
              <a:t>renewall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 rate is 76% and the normal churn rate 5.5% as given per the management.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net from the strong increase of DB Credit and Shared bucket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due to the migration: we have removed all the clients that had either DBAI or </a:t>
            </a:r>
            <a:r>
              <a:rPr lang="en-GB" sz="1000" err="1">
                <a:latin typeface="Trebuchet MS" panose="020B0603020202020204" pitchFamily="34" charset="0"/>
                <a:ea typeface="Calibri" panose="020F0502020204030204" pitchFamily="34" charset="0"/>
              </a:rPr>
              <a:t>DNBi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 in 2019 and that has now DB Credit or Shared bucket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Following management assumption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GDM &amp; Toolkit is not included in the products impacted by the migr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393647-7AF4-4521-B8B8-5AE0F22DC3B0}"/>
              </a:ext>
            </a:extLst>
          </p:cNvPr>
          <p:cNvSpPr/>
          <p:nvPr/>
        </p:nvSpPr>
        <p:spPr bwMode="auto">
          <a:xfrm>
            <a:off x="1700213" y="1082181"/>
            <a:ext cx="1907053" cy="793840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485A8C1-E288-4C0E-8B53-A639DDDA682F}"/>
              </a:ext>
            </a:extLst>
          </p:cNvPr>
          <p:cNvSpPr/>
          <p:nvPr/>
        </p:nvSpPr>
        <p:spPr bwMode="auto">
          <a:xfrm>
            <a:off x="3990975" y="1082181"/>
            <a:ext cx="1907053" cy="79384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C4FCE9C-1F5A-4EA2-84FE-DC5916B57B17}"/>
              </a:ext>
            </a:extLst>
          </p:cNvPr>
          <p:cNvSpPr/>
          <p:nvPr/>
        </p:nvSpPr>
        <p:spPr bwMode="auto">
          <a:xfrm>
            <a:off x="1700213" y="3330364"/>
            <a:ext cx="1907053" cy="596424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B62D93-224F-4EB4-9F71-E502E535655B}"/>
              </a:ext>
            </a:extLst>
          </p:cNvPr>
          <p:cNvSpPr/>
          <p:nvPr/>
        </p:nvSpPr>
        <p:spPr bwMode="auto">
          <a:xfrm>
            <a:off x="3990975" y="3330364"/>
            <a:ext cx="1907053" cy="596424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F441A8-CBFA-4807-AA42-A25161B73984}"/>
              </a:ext>
            </a:extLst>
          </p:cNvPr>
          <p:cNvSpPr/>
          <p:nvPr/>
        </p:nvSpPr>
        <p:spPr bwMode="auto">
          <a:xfrm>
            <a:off x="3749448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2E04E-BD40-4781-95C1-B1CB4629888D}"/>
              </a:ext>
            </a:extLst>
          </p:cNvPr>
          <p:cNvSpPr/>
          <p:nvPr/>
        </p:nvSpPr>
        <p:spPr bwMode="auto">
          <a:xfrm>
            <a:off x="6040210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60F54E-E0B3-4D5A-9146-8B3E9297DA9A}"/>
              </a:ext>
            </a:extLst>
          </p:cNvPr>
          <p:cNvSpPr txBox="1"/>
          <p:nvPr/>
        </p:nvSpPr>
        <p:spPr>
          <a:xfrm>
            <a:off x="4286252" y="6548512"/>
            <a:ext cx="141376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 err="1">
                <a:latin typeface="+mj-lt"/>
              </a:rPr>
              <a:t>Products</a:t>
            </a:r>
            <a:r>
              <a:rPr lang="fr-FR" sz="1000" i="1">
                <a:latin typeface="+mj-lt"/>
              </a:rPr>
              <a:t> </a:t>
            </a:r>
            <a:r>
              <a:rPr lang="fr-FR" sz="1000" i="1" err="1">
                <a:latin typeface="+mj-lt"/>
              </a:rPr>
              <a:t>decommissioned</a:t>
            </a:r>
            <a:r>
              <a:rPr lang="fr-FR" sz="1000" i="1">
                <a:latin typeface="+mj-lt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BC0A10-C77D-406E-9FE1-C469891D4A13}"/>
              </a:ext>
            </a:extLst>
          </p:cNvPr>
          <p:cNvSpPr txBox="1"/>
          <p:nvPr/>
        </p:nvSpPr>
        <p:spPr>
          <a:xfrm>
            <a:off x="6582468" y="6625456"/>
            <a:ext cx="14137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>
                <a:latin typeface="+mj-lt"/>
              </a:rPr>
              <a:t>« New » </a:t>
            </a:r>
            <a:r>
              <a:rPr lang="fr-FR" sz="1000" i="1" err="1">
                <a:latin typeface="+mj-lt"/>
              </a:rPr>
              <a:t>products</a:t>
            </a:r>
            <a:endParaRPr lang="fr-FR" sz="1000" i="1">
              <a:latin typeface="+mj-lt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7170DDA-478F-4AAA-820D-FECB02AEA468}"/>
              </a:ext>
            </a:extLst>
          </p:cNvPr>
          <p:cNvCxnSpPr>
            <a:stCxn id="21" idx="3"/>
          </p:cNvCxnSpPr>
          <p:nvPr/>
        </p:nvCxnSpPr>
        <p:spPr bwMode="auto">
          <a:xfrm>
            <a:off x="3607266" y="1479101"/>
            <a:ext cx="370448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6901D46-A089-420D-97C5-9BB58C57F637}"/>
              </a:ext>
            </a:extLst>
          </p:cNvPr>
          <p:cNvCxnSpPr/>
          <p:nvPr/>
        </p:nvCxnSpPr>
        <p:spPr bwMode="auto">
          <a:xfrm>
            <a:off x="3607266" y="3628576"/>
            <a:ext cx="370448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84" name="Rectangle : coins arrondis 199">
            <a:extLst>
              <a:ext uri="{FF2B5EF4-FFF2-40B4-BE49-F238E27FC236}">
                <a16:creationId xmlns:a16="http://schemas.microsoft.com/office/drawing/2014/main" id="{899589CB-45AE-4F94-BBEB-C9F32B82E1DB}"/>
              </a:ext>
            </a:extLst>
          </p:cNvPr>
          <p:cNvSpPr/>
          <p:nvPr/>
        </p:nvSpPr>
        <p:spPr bwMode="auto">
          <a:xfrm>
            <a:off x="8508412" y="196035"/>
            <a:ext cx="335598" cy="21213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85" name="Rectangle : coins arrondis 200">
            <a:extLst>
              <a:ext uri="{FF2B5EF4-FFF2-40B4-BE49-F238E27FC236}">
                <a16:creationId xmlns:a16="http://schemas.microsoft.com/office/drawing/2014/main" id="{3F0DF168-7912-4677-81B9-631A7AE1A782}"/>
              </a:ext>
            </a:extLst>
          </p:cNvPr>
          <p:cNvSpPr/>
          <p:nvPr/>
        </p:nvSpPr>
        <p:spPr bwMode="auto">
          <a:xfrm>
            <a:off x="8923225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86" name="Rectangle : coins arrondis 201">
            <a:extLst>
              <a:ext uri="{FF2B5EF4-FFF2-40B4-BE49-F238E27FC236}">
                <a16:creationId xmlns:a16="http://schemas.microsoft.com/office/drawing/2014/main" id="{8198288C-2021-4E0C-B24D-440404343D2D}"/>
              </a:ext>
            </a:extLst>
          </p:cNvPr>
          <p:cNvSpPr/>
          <p:nvPr/>
        </p:nvSpPr>
        <p:spPr bwMode="auto">
          <a:xfrm>
            <a:off x="9338038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587" name="ZoneTexte 18">
            <a:extLst>
              <a:ext uri="{FF2B5EF4-FFF2-40B4-BE49-F238E27FC236}">
                <a16:creationId xmlns:a16="http://schemas.microsoft.com/office/drawing/2014/main" id="{410EEDC1-0348-49B7-9C87-75340D928A62}"/>
              </a:ext>
            </a:extLst>
          </p:cNvPr>
          <p:cNvSpPr txBox="1"/>
          <p:nvPr/>
        </p:nvSpPr>
        <p:spPr>
          <a:xfrm>
            <a:off x="8448150" y="-11528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err="1">
                <a:solidFill>
                  <a:schemeClr val="tx2"/>
                </a:solidFill>
                <a:latin typeface="Trebuchet MS" panose="020B0603020202020204" pitchFamily="34" charset="0"/>
              </a:rPr>
              <a:t>Altares</a:t>
            </a:r>
            <a:r>
              <a:rPr lang="en-GB" sz="800">
                <a:solidFill>
                  <a:schemeClr val="tx2"/>
                </a:solidFill>
                <a:latin typeface="Trebuchet MS" panose="020B0603020202020204" pitchFamily="34" charset="0"/>
              </a:rPr>
              <a:t>’ offering</a:t>
            </a:r>
          </a:p>
        </p:txBody>
      </p:sp>
      <p:pic>
        <p:nvPicPr>
          <p:cNvPr id="588" name="Graphique 128" descr="Jauge">
            <a:extLst>
              <a:ext uri="{FF2B5EF4-FFF2-40B4-BE49-F238E27FC236}">
                <a16:creationId xmlns:a16="http://schemas.microsoft.com/office/drawing/2014/main" id="{ABFD68D7-DF42-4D19-8EFC-9DF58835C4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53764" y="187516"/>
            <a:ext cx="234953" cy="218224"/>
          </a:xfrm>
          <a:prstGeom prst="rect">
            <a:avLst/>
          </a:prstGeom>
          <a:effectLst/>
        </p:spPr>
      </p:pic>
      <p:pic>
        <p:nvPicPr>
          <p:cNvPr id="589" name="Graphique 90" descr="Poignée de main">
            <a:extLst>
              <a:ext uri="{FF2B5EF4-FFF2-40B4-BE49-F238E27FC236}">
                <a16:creationId xmlns:a16="http://schemas.microsoft.com/office/drawing/2014/main" id="{29CC5E62-C40E-42AE-BC62-C49140EEEB6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960868" y="152880"/>
            <a:ext cx="256313" cy="287496"/>
          </a:xfrm>
          <a:prstGeom prst="rect">
            <a:avLst/>
          </a:prstGeom>
          <a:effectLst/>
        </p:spPr>
      </p:pic>
      <p:pic>
        <p:nvPicPr>
          <p:cNvPr id="590" name="Graphique 74" descr="Mégaphone">
            <a:extLst>
              <a:ext uri="{FF2B5EF4-FFF2-40B4-BE49-F238E27FC236}">
                <a16:creationId xmlns:a16="http://schemas.microsoft.com/office/drawing/2014/main" id="{DBC9C08A-3DE4-4E8A-B523-037FE1B1D9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89331" y="181519"/>
            <a:ext cx="233011" cy="216420"/>
          </a:xfrm>
          <a:prstGeom prst="rect">
            <a:avLst/>
          </a:prstGeom>
          <a:effectLst/>
        </p:spPr>
      </p:pic>
      <p:sp>
        <p:nvSpPr>
          <p:cNvPr id="595" name="ZoneTexte 18">
            <a:extLst>
              <a:ext uri="{FF2B5EF4-FFF2-40B4-BE49-F238E27FC236}">
                <a16:creationId xmlns:a16="http://schemas.microsoft.com/office/drawing/2014/main" id="{F3EC09FA-0A14-477E-84EB-3810DF9665D1}"/>
              </a:ext>
            </a:extLst>
          </p:cNvPr>
          <p:cNvSpPr txBox="1"/>
          <p:nvPr/>
        </p:nvSpPr>
        <p:spPr>
          <a:xfrm>
            <a:off x="8448150" y="361171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latin typeface="Trebuchet MS" panose="020B0603020202020204" pitchFamily="34" charset="0"/>
              </a:rPr>
              <a:t>Product dynamics</a:t>
            </a:r>
          </a:p>
        </p:txBody>
      </p:sp>
      <p:pic>
        <p:nvPicPr>
          <p:cNvPr id="598" name="Picture 2" descr="5 ft x 3 ft 150 x 90 cm-DRAPEAU BELGE Belgique 100% Polyester ...">
            <a:extLst>
              <a:ext uri="{FF2B5EF4-FFF2-40B4-BE49-F238E27FC236}">
                <a16:creationId xmlns:a16="http://schemas.microsoft.com/office/drawing/2014/main" id="{E068B7ED-C84D-4278-A852-B3DE90D0B9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3"/>
          <a:stretch/>
        </p:blipFill>
        <p:spPr bwMode="auto">
          <a:xfrm>
            <a:off x="9704111" y="187304"/>
            <a:ext cx="17917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599" name="Picture 2 - 1" descr="Drapeau des Pays-Bas — Wikipédia">
            <a:extLst>
              <a:ext uri="{FF2B5EF4-FFF2-40B4-BE49-F238E27FC236}">
                <a16:creationId xmlns:a16="http://schemas.microsoft.com/office/drawing/2014/main" id="{EF7EDC00-C64A-4042-ABCE-5D5D1B152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112" y="311715"/>
            <a:ext cx="179171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600" name="Picture 2 - 2" descr="Drapeau du Luxembourg">
            <a:extLst>
              <a:ext uri="{FF2B5EF4-FFF2-40B4-BE49-F238E27FC236}">
                <a16:creationId xmlns:a16="http://schemas.microsoft.com/office/drawing/2014/main" id="{9411C671-8E4C-4E07-8858-77C1356E52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3696" y="436125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6176FD73-D8F8-4FE7-AD28-648B48BAB952}"/>
              </a:ext>
            </a:extLst>
          </p:cNvPr>
          <p:cNvSpPr txBox="1"/>
          <p:nvPr/>
        </p:nvSpPr>
        <p:spPr>
          <a:xfrm flipH="1">
            <a:off x="7904741" y="6009079"/>
            <a:ext cx="17593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>
                <a:solidFill>
                  <a:schemeClr val="accent1"/>
                </a:solidFill>
                <a:latin typeface="+mj-lt"/>
              </a:rPr>
              <a:t>See calculation details slide 7</a:t>
            </a:r>
          </a:p>
        </p:txBody>
      </p:sp>
      <p:pic>
        <p:nvPicPr>
          <p:cNvPr id="81" name="Graphic 80" descr="Magnifying glass with solid fill">
            <a:extLst>
              <a:ext uri="{FF2B5EF4-FFF2-40B4-BE49-F238E27FC236}">
                <a16:creationId xmlns:a16="http://schemas.microsoft.com/office/drawing/2014/main" id="{100D613A-6E33-4F7D-82B5-17F146CA40C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7527861" y="6020694"/>
            <a:ext cx="376880" cy="37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48561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77857E2-6DF1-48EF-BB3F-BB1531140D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258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75" imgW="416" imgH="423" progId="TCLayout.ActiveDocument.1">
                  <p:embed/>
                </p:oleObj>
              </mc:Choice>
              <mc:Fallback>
                <p:oleObj name="think-cell Slide" r:id="rId75" imgW="416" imgH="4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77857E2-6DF1-48EF-BB3F-BB1531140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FC02BAD-456B-4773-9A5D-8C6871E49FAB}"/>
              </a:ext>
            </a:extLst>
          </p:cNvPr>
          <p:cNvSpPr/>
          <p:nvPr/>
        </p:nvSpPr>
        <p:spPr bwMode="auto">
          <a:xfrm>
            <a:off x="165600" y="844299"/>
            <a:ext cx="9540000" cy="44357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576B3F-3BF3-47ED-8392-95410BFB7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00" y="147600"/>
            <a:ext cx="8014788" cy="684000"/>
          </a:xfrm>
        </p:spPr>
        <p:txBody>
          <a:bodyPr vert="horz"/>
          <a:lstStyle/>
          <a:p>
            <a:r>
              <a:rPr lang="en-GB" sz="1600">
                <a:latin typeface="Trebuchet MS" pitchFamily="34" charset="0"/>
              </a:rPr>
              <a:t>In Benelux, the migration has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increased the churn and down-sell of DBAI and </a:t>
            </a:r>
            <a:r>
              <a:rPr lang="en-GB" sz="1600" err="1">
                <a:solidFill>
                  <a:schemeClr val="tx2"/>
                </a:solidFill>
                <a:latin typeface="Trebuchet MS" pitchFamily="34" charset="0"/>
              </a:rPr>
              <a:t>DNBi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 </a:t>
            </a:r>
            <a:r>
              <a:rPr lang="en-GB" sz="1600">
                <a:latin typeface="Trebuchet MS" pitchFamily="34" charset="0"/>
              </a:rPr>
              <a:t>while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increasing the D&amp;B Credit bookings</a:t>
            </a:r>
            <a:r>
              <a:rPr lang="en-GB" sz="1600">
                <a:latin typeface="Trebuchet MS" pitchFamily="34" charset="0"/>
              </a:rPr>
              <a:t>, inducing a c. </a:t>
            </a:r>
            <a:r>
              <a:rPr lang="en-GB" sz="1600">
                <a:solidFill>
                  <a:schemeClr val="tx2"/>
                </a:solidFill>
                <a:latin typeface="Trebuchet MS" pitchFamily="34" charset="0"/>
              </a:rPr>
              <a:t>€-3.5m effect for 2020</a:t>
            </a:r>
            <a:br>
              <a:rPr lang="en-GB"/>
            </a:b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22942-C2FD-4CBD-8EDF-A48063B3C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273" y="6580025"/>
            <a:ext cx="1822209" cy="244800"/>
          </a:xfrm>
        </p:spPr>
        <p:txBody>
          <a:bodyPr/>
          <a:lstStyle/>
          <a:p>
            <a:r>
              <a:rPr lang="en-GB"/>
              <a:t>Sources: eleven research &amp; analysis</a:t>
            </a:r>
          </a:p>
          <a:p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FAE982-EF25-48C7-A786-AC0F0510B8D2}"/>
              </a:ext>
            </a:extLst>
          </p:cNvPr>
          <p:cNvSpPr/>
          <p:nvPr/>
        </p:nvSpPr>
        <p:spPr bwMode="auto">
          <a:xfrm>
            <a:off x="297031" y="840160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ookings bridge in Benelux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D2F3C3-FA5C-421B-87D7-38B6AB2BF45B}"/>
              </a:ext>
            </a:extLst>
          </p:cNvPr>
          <p:cNvSpPr/>
          <p:nvPr/>
        </p:nvSpPr>
        <p:spPr bwMode="auto">
          <a:xfrm>
            <a:off x="297031" y="3022956"/>
            <a:ext cx="6621557" cy="205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i="1">
                <a:latin typeface="Trebuchet MS" panose="020B0603020202020204" pitchFamily="34" charset="0"/>
              </a:rPr>
              <a:t>Risk bookings bridge in Benelux without migration, in €m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3FF9CD-B1BC-4799-A632-81B0B66892EF}"/>
              </a:ext>
            </a:extLst>
          </p:cNvPr>
          <p:cNvSpPr/>
          <p:nvPr/>
        </p:nvSpPr>
        <p:spPr bwMode="auto">
          <a:xfrm>
            <a:off x="165600" y="5351088"/>
            <a:ext cx="9548700" cy="10581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ctr" anchorCtr="0" compatLnSpc="1">
            <a:prstTxWarp prst="textNoShape">
              <a:avLst/>
            </a:prstTxWarp>
          </a:bodyPr>
          <a:lstStyle/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ncludes the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artificially high churn and down-sell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created by the migration on </a:t>
            </a:r>
            <a:r>
              <a:rPr lang="en-GB" sz="1000" err="1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DNBi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 and DBAI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. We have considered that the “normal </a:t>
            </a:r>
            <a:r>
              <a:rPr lang="en-GB" sz="1000" err="1">
                <a:latin typeface="Trebuchet MS" panose="020B0603020202020204" pitchFamily="34" charset="0"/>
                <a:ea typeface="Calibri" panose="020F0502020204030204" pitchFamily="34" charset="0"/>
              </a:rPr>
              <a:t>renewall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 rate is 76% and the normal churn rate 5.5% as given per the management.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The migration impact i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net from the strong increase of DB Credit and Shared bucket 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due to the migration: we have removed all the clients that had either DBAI or </a:t>
            </a:r>
            <a:r>
              <a:rPr lang="en-GB" sz="1000" err="1">
                <a:latin typeface="Trebuchet MS" panose="020B0603020202020204" pitchFamily="34" charset="0"/>
                <a:ea typeface="Calibri" panose="020F0502020204030204" pitchFamily="34" charset="0"/>
              </a:rPr>
              <a:t>DNBi</a:t>
            </a: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 in 2019 and that has now DB Credit or Shared bucket</a:t>
            </a:r>
          </a:p>
          <a:p>
            <a:pPr marL="72000" lvl="1" indent="-228600">
              <a:lnSpc>
                <a:spcPct val="107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000">
                <a:latin typeface="Trebuchet MS" panose="020B0603020202020204" pitchFamily="34" charset="0"/>
                <a:ea typeface="Calibri" panose="020F0502020204030204" pitchFamily="34" charset="0"/>
              </a:rPr>
              <a:t>Following management assumptions </a:t>
            </a:r>
            <a:r>
              <a:rPr lang="en-GB" sz="1000">
                <a:solidFill>
                  <a:schemeClr val="tx2"/>
                </a:solidFill>
                <a:latin typeface="Trebuchet MS" panose="020B0603020202020204" pitchFamily="34" charset="0"/>
                <a:ea typeface="Calibri" panose="020F0502020204030204" pitchFamily="34" charset="0"/>
              </a:rPr>
              <a:t>GDM &amp; Toolkit is not included in the products impacted by the migr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F441A8-CBFA-4807-AA42-A25161B73984}"/>
              </a:ext>
            </a:extLst>
          </p:cNvPr>
          <p:cNvSpPr/>
          <p:nvPr/>
        </p:nvSpPr>
        <p:spPr bwMode="auto">
          <a:xfrm>
            <a:off x="3749448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32E04E-BD40-4781-95C1-B1CB4629888D}"/>
              </a:ext>
            </a:extLst>
          </p:cNvPr>
          <p:cNvSpPr/>
          <p:nvPr/>
        </p:nvSpPr>
        <p:spPr bwMode="auto">
          <a:xfrm>
            <a:off x="6040210" y="6587428"/>
            <a:ext cx="456533" cy="229947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60F54E-E0B3-4D5A-9146-8B3E9297DA9A}"/>
              </a:ext>
            </a:extLst>
          </p:cNvPr>
          <p:cNvSpPr txBox="1"/>
          <p:nvPr/>
        </p:nvSpPr>
        <p:spPr>
          <a:xfrm>
            <a:off x="4286252" y="6548512"/>
            <a:ext cx="141376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 err="1">
                <a:latin typeface="+mj-lt"/>
              </a:rPr>
              <a:t>Products</a:t>
            </a:r>
            <a:r>
              <a:rPr lang="fr-FR" sz="1000" i="1">
                <a:latin typeface="+mj-lt"/>
              </a:rPr>
              <a:t> </a:t>
            </a:r>
            <a:r>
              <a:rPr lang="fr-FR" sz="1000" i="1" err="1">
                <a:latin typeface="+mj-lt"/>
              </a:rPr>
              <a:t>decommissioned</a:t>
            </a:r>
            <a:r>
              <a:rPr lang="fr-FR" sz="1000" i="1">
                <a:latin typeface="+mj-lt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BC0A10-C77D-406E-9FE1-C469891D4A13}"/>
              </a:ext>
            </a:extLst>
          </p:cNvPr>
          <p:cNvSpPr txBox="1"/>
          <p:nvPr/>
        </p:nvSpPr>
        <p:spPr>
          <a:xfrm>
            <a:off x="6582468" y="6625456"/>
            <a:ext cx="14137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000" i="1">
                <a:latin typeface="+mj-lt"/>
              </a:rPr>
              <a:t>« New » </a:t>
            </a:r>
            <a:r>
              <a:rPr lang="fr-FR" sz="1000" i="1" err="1">
                <a:latin typeface="+mj-lt"/>
              </a:rPr>
              <a:t>products</a:t>
            </a:r>
            <a:endParaRPr lang="fr-FR" sz="1000" i="1">
              <a:latin typeface="+mj-lt"/>
            </a:endParaRPr>
          </a:p>
        </p:txBody>
      </p: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2389580-1632-4A80-B4DC-5676870CE2C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180388" y="1295400"/>
            <a:ext cx="517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6126928B-B4BF-4B52-BD26-52CF89C7FA5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011988" y="1317625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02796175-775A-4783-975E-F1573F145E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845175" y="1546225"/>
            <a:ext cx="517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159E5405-BAB9-4BD4-8DC1-607436A64CD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676775" y="1714500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260972ED-B485-45C8-8D3F-73EFA46817A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508375" y="1771650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9D526AB-3471-4F86-B3A2-90C5348CD53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173163" y="1235075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119CBB82-A684-4CF6-983F-C33A85DC864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341563" y="1408113"/>
            <a:ext cx="517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1" name="Chart 140">
            <a:extLst>
              <a:ext uri="{FF2B5EF4-FFF2-40B4-BE49-F238E27FC236}">
                <a16:creationId xmlns:a16="http://schemas.microsoft.com/office/drawing/2014/main" id="{D676640E-B7C1-4698-830E-49275D932869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08429682"/>
              </p:ext>
            </p:extLst>
          </p:nvPr>
        </p:nvGraphicFramePr>
        <p:xfrm>
          <a:off x="182563" y="1152525"/>
          <a:ext cx="9507537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23" name="Espace réservé du texte 2">
            <a:extLst>
              <a:ext uri="{FF2B5EF4-FFF2-40B4-BE49-F238E27FC236}">
                <a16:creationId xmlns:a16="http://schemas.microsoft.com/office/drawing/2014/main" id="{3E2BACA9-BCE9-45C6-94CC-F7E252A1E93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41363" y="15224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AFE5EFF-98FF-4C67-B79E-23D1490387B3}" type="datetime'''''''''''7''.''''''''''''''''9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7.9</a:t>
            </a:fld>
            <a:endParaRPr lang="fr-FR" sz="1000">
              <a:latin typeface="+mn-lt"/>
            </a:endParaRPr>
          </a:p>
        </p:txBody>
      </p:sp>
      <p:sp>
        <p:nvSpPr>
          <p:cNvPr id="224" name="Espace réservé du texte 2">
            <a:extLst>
              <a:ext uri="{FF2B5EF4-FFF2-40B4-BE49-F238E27FC236}">
                <a16:creationId xmlns:a16="http://schemas.microsoft.com/office/drawing/2014/main" id="{B6418F71-ED95-4896-8D91-641FAE51336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41363" y="12446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6627F08-CD84-4FCC-8A5D-1F6FF5BFD880}" type="datetime'''''''''''''''''''''''3''''''''''''.''''''''''''''6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.6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2" name="Espace réservé du texte 2">
            <a:extLst>
              <a:ext uri="{FF2B5EF4-FFF2-40B4-BE49-F238E27FC236}">
                <a16:creationId xmlns:a16="http://schemas.microsoft.com/office/drawing/2014/main" id="{1819E44A-4100-47F7-9CBC-80805882C80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08025" y="2027238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75A80DC-63CF-4512-8BBA-6F9138A2A002}" type="datetime'''''13.''''''''''''''''''''''''''''0''''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13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9" name="Espace réservé du texte 2">
            <a:extLst>
              <a:ext uri="{FF2B5EF4-FFF2-40B4-BE49-F238E27FC236}">
                <a16:creationId xmlns:a16="http://schemas.microsoft.com/office/drawing/2014/main" id="{CA278E1B-2FC1-4324-9AE9-42BA72DACFC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9438" y="243205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177381-1F4E-4501-BBCF-3364C5EE159E}" type="datetime'''''''''''''''''''''''''3''''''''.0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E983B6CB-FA16-4AA5-AF97-0806A4EBDEE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876425" y="2624138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5D7BC9A-5D66-4529-912A-7DA4D1E66C21}" type="datetime'''''''''''''''''''D''''''N''''''''''''''B''''''''i'''''''">
              <a:rPr lang="fr-FR" altLang="en-US" sz="1000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DNBi</a:t>
            </a:fld>
            <a:endParaRPr lang="fr-FR" sz="1000">
              <a:latin typeface="+mn-lt"/>
            </a:endParaRPr>
          </a:p>
        </p:txBody>
      </p:sp>
      <p:sp>
        <p:nvSpPr>
          <p:cNvPr id="220" name="Espace réservé du texte 2">
            <a:extLst>
              <a:ext uri="{FF2B5EF4-FFF2-40B4-BE49-F238E27FC236}">
                <a16:creationId xmlns:a16="http://schemas.microsoft.com/office/drawing/2014/main" id="{D2D2AD5C-D7D9-423C-8411-EDE40062E9E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04875" y="2349500"/>
            <a:ext cx="214313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328B30E-9BE7-4FAB-998B-BD315C66B533}" type="datetime'0''''''''''''''''''''''''''''''''''''''''''''.''4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0.4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6" name="Espace réservé du texte 2">
            <a:extLst>
              <a:ext uri="{FF2B5EF4-FFF2-40B4-BE49-F238E27FC236}">
                <a16:creationId xmlns:a16="http://schemas.microsoft.com/office/drawing/2014/main" id="{F3E8D5A5-F2FF-4E71-84E2-BE238D102AB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761413" y="2624138"/>
            <a:ext cx="5222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52DC9F-8797-464A-A8FC-79B10074589E}" type="datetime'''''''''''''''2''''0''''''''''20'''''''''''' ''(A'''')'''">
              <a:rPr lang="fr-FR" altLang="en-US" sz="1000" b="1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2020 (A)</a:t>
            </a:fld>
            <a:endParaRPr lang="fr-FR" sz="1000" b="1">
              <a:latin typeface="+mn-lt"/>
            </a:endParaRP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2D50909B-D276-4130-8015-7E672A7A6AC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87375" y="2624138"/>
            <a:ext cx="5222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37E9FCE-2E33-4092-9CB2-37D60E2E4845}" type="datetime'2''''0''1''''9'''''''''''' ''''(''''''''A'')'">
              <a:rPr lang="fr-FR" altLang="en-US" sz="1000" b="1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2019 (A)</a:t>
            </a:fld>
            <a:endParaRPr lang="fr-FR" sz="1000" b="1">
              <a:latin typeface="+mn-lt"/>
            </a:endParaRPr>
          </a:p>
        </p:txBody>
      </p:sp>
      <p:sp>
        <p:nvSpPr>
          <p:cNvPr id="255" name="Espace réservé du texte 2">
            <a:extLst>
              <a:ext uri="{FF2B5EF4-FFF2-40B4-BE49-F238E27FC236}">
                <a16:creationId xmlns:a16="http://schemas.microsoft.com/office/drawing/2014/main" id="{68CEB430-045A-4778-BFCA-54106FFB1A7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885949" y="1244600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82AE71F-99D9-40A8-89C8-E4A5232C2DE3}" type="datetime'''''''''''''''''''''''''''''''-3''''''''''''''.''''6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-3.6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3" name="Espace réservé du texte 2">
            <a:extLst>
              <a:ext uri="{FF2B5EF4-FFF2-40B4-BE49-F238E27FC236}">
                <a16:creationId xmlns:a16="http://schemas.microsoft.com/office/drawing/2014/main" id="{2DD5C219-0A1E-4C91-9C3C-2ECADD6ECA7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244975" y="1666875"/>
            <a:ext cx="214313" cy="152400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192917D-FEB6-47DE-A662-B30DCC54A0C9}" type="datetime'''''''''1''''''''.''''2''''''''''''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1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2" name="Espace réservé du texte 2">
            <a:extLst>
              <a:ext uri="{FF2B5EF4-FFF2-40B4-BE49-F238E27FC236}">
                <a16:creationId xmlns:a16="http://schemas.microsoft.com/office/drawing/2014/main" id="{E2E776D2-D89A-4EFF-A45B-6D1ABB504DF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272213" y="2624138"/>
            <a:ext cx="830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62BD97D-EC35-48CC-B398-381210216056}" type="datetime'GD''''M'' ''''&amp;'' ''''''''''T''''''''''oo''l''''''k''i''''t'">
              <a:rPr lang="fr-FR" altLang="en-US" sz="1000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GDM &amp; Toolkit</a:t>
            </a:fld>
            <a:endParaRPr lang="fr-FR" sz="1000">
              <a:latin typeface="+mn-lt"/>
            </a:endParaRPr>
          </a:p>
        </p:txBody>
      </p:sp>
      <p:sp>
        <p:nvSpPr>
          <p:cNvPr id="297" name="Espace réservé du texte 2">
            <a:extLst>
              <a:ext uri="{FF2B5EF4-FFF2-40B4-BE49-F238E27FC236}">
                <a16:creationId xmlns:a16="http://schemas.microsoft.com/office/drawing/2014/main" id="{73192C54-BCE2-466F-A521-55F015D7D8E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748588" y="1230313"/>
            <a:ext cx="214313" cy="152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D24FA2C-24BA-4F82-8CA7-4C0889AC3918}" type="datetime'''''''''''''0''''''''''''''.''''''5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0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8" name="Espace réservé du texte 2">
            <a:extLst>
              <a:ext uri="{FF2B5EF4-FFF2-40B4-BE49-F238E27FC236}">
                <a16:creationId xmlns:a16="http://schemas.microsoft.com/office/drawing/2014/main" id="{EAF36915-6B90-46A9-A15F-822637FDA16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75525" y="2624138"/>
            <a:ext cx="958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2D226E1-638E-496A-BFDB-A5B699A6C54F}" type="datetime'''Oth''er ''pr''oducts not'' concerned by the migrat''io''''n'">
              <a:rPr lang="en-US" altLang="en-US" sz="1000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Other products not concerned by the migration</a:t>
            </a:fld>
            <a:endParaRPr lang="fr-FR" sz="1000">
              <a:latin typeface="+mn-lt"/>
            </a:endParaRPr>
          </a:p>
        </p:txBody>
      </p:sp>
      <p:sp>
        <p:nvSpPr>
          <p:cNvPr id="518" name="Espace réservé du texte 2">
            <a:extLst>
              <a:ext uri="{FF2B5EF4-FFF2-40B4-BE49-F238E27FC236}">
                <a16:creationId xmlns:a16="http://schemas.microsoft.com/office/drawing/2014/main" id="{157B2CC6-7B52-42E8-AFB0-C3044E16B40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078913" y="1219200"/>
            <a:ext cx="214313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7144EAC-AB1A-481B-94D2-669FFF41B0D2}" type="datetime'''''''0''''''''''''''''''''''''''''''''.''''''0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0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17" name="Espace réservé du texte 2">
            <a:extLst>
              <a:ext uri="{FF2B5EF4-FFF2-40B4-BE49-F238E27FC236}">
                <a16:creationId xmlns:a16="http://schemas.microsoft.com/office/drawing/2014/main" id="{C440CC15-4AE3-4056-9425-7F7A210842B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753475" y="1227138"/>
            <a:ext cx="214313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3965D2F-95E6-428D-83A8-AEAB4099DFB9}" type="datetime'''''''''''''''''0''''.''''''''4''''''''''''''''''''''''''''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buNone/>
              </a:pPr>
              <a:t>0.4</a:t>
            </a:fld>
            <a:endParaRPr lang="fr-FR" sz="1000">
              <a:latin typeface="+mn-lt"/>
            </a:endParaRPr>
          </a:p>
        </p:txBody>
      </p:sp>
      <p:sp>
        <p:nvSpPr>
          <p:cNvPr id="522" name="Espace réservé du texte 2">
            <a:extLst>
              <a:ext uri="{FF2B5EF4-FFF2-40B4-BE49-F238E27FC236}">
                <a16:creationId xmlns:a16="http://schemas.microsoft.com/office/drawing/2014/main" id="{58D131E2-9FEE-400C-9752-106D76B01B3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82063" y="1577975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E7B2977-F3C7-495F-A4B9-D4D2B5CB649B}" type="datetime'''''''''''''1''''''4''''''''''''.''''2''''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14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25" name="Espace réservé du texte 2">
            <a:extLst>
              <a:ext uri="{FF2B5EF4-FFF2-40B4-BE49-F238E27FC236}">
                <a16:creationId xmlns:a16="http://schemas.microsoft.com/office/drawing/2014/main" id="{2A182D36-6F04-41A8-8378-E861F36D826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915400" y="20034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EBA920A-5598-4491-9D20-A85B8B844710}" type="datetime'''''''''''''''''''''3''''''''''''''''.''''''''''5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3.5</a:t>
            </a:fld>
            <a:endParaRPr lang="fr-FR" sz="1000">
              <a:latin typeface="+mn-lt"/>
            </a:endParaRPr>
          </a:p>
        </p:txBody>
      </p:sp>
      <p:sp>
        <p:nvSpPr>
          <p:cNvPr id="528" name="Espace réservé du texte 2">
            <a:extLst>
              <a:ext uri="{FF2B5EF4-FFF2-40B4-BE49-F238E27FC236}">
                <a16:creationId xmlns:a16="http://schemas.microsoft.com/office/drawing/2014/main" id="{BD3A1620-027C-4D80-AF03-BF7FF0113D7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915400" y="22129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97A496-88DD-438C-A78B-D36921C9C8AF}" type="datetime'''''''''5''''''''''.''''2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5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31" name="Espace réservé du texte 2">
            <a:extLst>
              <a:ext uri="{FF2B5EF4-FFF2-40B4-BE49-F238E27FC236}">
                <a16:creationId xmlns:a16="http://schemas.microsoft.com/office/drawing/2014/main" id="{2A507AB9-B0CA-47BA-BE9F-E1401C93FD5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915400" y="2420938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A10DF0A-38FC-49A2-A753-83071466401D}" type="datetime'''''''''3''''''''''''''''''''''.''''''''''5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1" name="Espace réservé du texte 2">
            <a:extLst>
              <a:ext uri="{FF2B5EF4-FFF2-40B4-BE49-F238E27FC236}">
                <a16:creationId xmlns:a16="http://schemas.microsoft.com/office/drawing/2014/main" id="{6A5F3BD4-D574-47FE-9569-2BFBE78A5DE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106988" y="2624138"/>
            <a:ext cx="8270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3C9230E-9CC1-4726-B27B-F76FB8A41BD0}" type="datetime'S''''''''''h''''''''''''''are''d ''B''''u''c''''''''k''e''t'''">
              <a:rPr lang="fr-FR" altLang="en-US" sz="1000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Shared Bucket</a:t>
            </a:fld>
            <a:endParaRPr lang="fr-FR" sz="1000">
              <a:latin typeface="+mn-lt"/>
            </a:endParaRPr>
          </a:p>
        </p:txBody>
      </p:sp>
      <p:sp>
        <p:nvSpPr>
          <p:cNvPr id="267" name="Espace réservé du texte 2">
            <a:extLst>
              <a:ext uri="{FF2B5EF4-FFF2-40B4-BE49-F238E27FC236}">
                <a16:creationId xmlns:a16="http://schemas.microsoft.com/office/drawing/2014/main" id="{BEC1A8A5-D147-4994-8DC5-E0EBD78F44D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13375" y="155416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7963B9-1096-4C45-965D-828A7BC29D6C}" type="datetime'3''''''''''''''''''''''''''''''.5''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3.5</a:t>
            </a:fld>
            <a:endParaRPr lang="fr-FR" sz="1000">
              <a:latin typeface="+mn-lt"/>
            </a:endParaRPr>
          </a:p>
        </p:txBody>
      </p:sp>
      <p:sp>
        <p:nvSpPr>
          <p:cNvPr id="60" name="Espace réservé du texte 2">
            <a:extLst>
              <a:ext uri="{FF2B5EF4-FFF2-40B4-BE49-F238E27FC236}">
                <a16:creationId xmlns:a16="http://schemas.microsoft.com/office/drawing/2014/main" id="{079A3004-8B10-4A8B-A55B-01C30D9ACF7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030663" y="2624138"/>
            <a:ext cx="6429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17F126-5E0F-458E-9F39-8CAD3F6A9095}" type="datetime'''''''''D&amp;B'''''''''''' ''C''''re''''''''d''''''''''i''''''t'">
              <a:rPr lang="fr-FR" altLang="en-US" sz="1000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D&amp;B Credit</a:t>
            </a:fld>
            <a:endParaRPr lang="fr-FR" sz="1000">
              <a:latin typeface="+mn-lt"/>
            </a:endParaRP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A4C42241-6C7E-4D8D-AE62-1CC497C7E1F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768600" y="2624138"/>
            <a:ext cx="8286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C78844D-031B-431B-BE93-52C1B09B3050}" type="datetime'DB''''AI'''' (i''''ncl To''ol''''''k''i''t Us''a''''''ge)'''''">
              <a:rPr lang="fr-FR" altLang="en-US" sz="1000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DBAI (incl Toolkit Usage)</a:t>
            </a:fld>
            <a:endParaRPr lang="fr-FR" sz="1000">
              <a:latin typeface="+mn-lt"/>
            </a:endParaRPr>
          </a:p>
        </p:txBody>
      </p:sp>
      <p:sp>
        <p:nvSpPr>
          <p:cNvPr id="259" name="Espace réservé du texte 2">
            <a:extLst>
              <a:ext uri="{FF2B5EF4-FFF2-40B4-BE49-F238E27FC236}">
                <a16:creationId xmlns:a16="http://schemas.microsoft.com/office/drawing/2014/main" id="{00DB6482-80EE-4A5D-B495-712C9980188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052762" y="1512888"/>
            <a:ext cx="260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091CC4-85C4-4D6B-A0A8-F2545BD58D72}" type="datetime'''''''-''''7''''''''''.''''''6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-7.6</a:t>
            </a:fld>
            <a:endParaRPr lang="fr-FR" sz="1000">
              <a:latin typeface="+mn-lt"/>
            </a:endParaRPr>
          </a:p>
        </p:txBody>
      </p: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6BB7916F-8D04-479D-BB06-36EA6577D4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95325" y="1057275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98533A-3CAB-4B56-899D-3B8A253C014C}" type="datetime'''''''''''''28''''''''''.''''''''0'''''''''''">
              <a:rPr lang="fr-FR" altLang="en-US" sz="1000" b="1" smtClean="0"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28.0</a:t>
            </a:fld>
            <a:endParaRPr lang="fr-FR" sz="1000" b="1">
              <a:latin typeface="+mn-lt"/>
            </a:endParaRPr>
          </a:p>
        </p:txBody>
      </p:sp>
      <p:sp>
        <p:nvSpPr>
          <p:cNvPr id="329" name="Espace réservé du texte 2">
            <a:extLst>
              <a:ext uri="{FF2B5EF4-FFF2-40B4-BE49-F238E27FC236}">
                <a16:creationId xmlns:a16="http://schemas.microsoft.com/office/drawing/2014/main" id="{D50DF1BF-E8E1-441A-8845-000F39BED6E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869363" y="1066800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D2A2381-4FF2-44AB-8EBB-E74E233ED0A3}" type="datetime'''''2''6''''''''''''''''.''''''''''''''''''''''''7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26.7</a:t>
            </a:fld>
            <a:endParaRPr lang="fr-FR" sz="1000" b="1">
              <a:latin typeface="+mn-lt"/>
            </a:endParaRPr>
          </a:p>
        </p:txBody>
      </p:sp>
      <p:sp>
        <p:nvSpPr>
          <p:cNvPr id="289" name="Espace réservé du texte 2">
            <a:extLst>
              <a:ext uri="{FF2B5EF4-FFF2-40B4-BE49-F238E27FC236}">
                <a16:creationId xmlns:a16="http://schemas.microsoft.com/office/drawing/2014/main" id="{81A31DB8-99C4-4548-81F7-3EA9E702944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580188" y="13557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D8B02CB-D932-4BB1-A007-99B1D6238740}" type="datetime'''''''4''''''.''''''8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4.8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393647-7AF4-4521-B8B8-5AE0F22DC3B0}"/>
              </a:ext>
            </a:extLst>
          </p:cNvPr>
          <p:cNvSpPr/>
          <p:nvPr/>
        </p:nvSpPr>
        <p:spPr bwMode="auto">
          <a:xfrm>
            <a:off x="1690687" y="1205853"/>
            <a:ext cx="1817687" cy="670165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485A8C1-E288-4C0E-8B53-A639DDDA682F}"/>
              </a:ext>
            </a:extLst>
          </p:cNvPr>
          <p:cNvSpPr/>
          <p:nvPr/>
        </p:nvSpPr>
        <p:spPr bwMode="auto">
          <a:xfrm>
            <a:off x="4027488" y="1205853"/>
            <a:ext cx="1817687" cy="670163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7170DDA-478F-4AAA-820D-FECB02AEA468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 bwMode="auto">
          <a:xfrm flipV="1">
            <a:off x="3508374" y="1540935"/>
            <a:ext cx="519114" cy="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8BC32E13-4C3B-4F85-BF6B-9C35C090CE9B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3508375" y="3713163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FF618154-BF79-45DC-A65C-1552CCABE6D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5845175" y="3670300"/>
            <a:ext cx="517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52CAB78-7322-48A8-98FF-411A2DAF133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1173163" y="3579813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FDE428FE-F16B-43EE-8CE7-6D4689515B4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2341563" y="3629025"/>
            <a:ext cx="517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94E8A521-F49C-4FD6-9D2E-A8901F7D7E4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676775" y="3719513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B7F4C317-CACC-45E0-A1D9-B06436081CCF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7011988" y="3463925"/>
            <a:ext cx="519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14324AB-672B-4E59-90FC-8FDD0E63742D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8180388" y="3443288"/>
            <a:ext cx="517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3" name="Rectangle 552">
            <a:extLst>
              <a:ext uri="{FF2B5EF4-FFF2-40B4-BE49-F238E27FC236}">
                <a16:creationId xmlns:a16="http://schemas.microsoft.com/office/drawing/2014/main" id="{5FF8C4CA-A034-4CDD-A5B8-BFAFBBC2DBC2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4027488" y="3713163"/>
            <a:ext cx="649287" cy="6350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138" name="Chart 137">
            <a:extLst>
              <a:ext uri="{FF2B5EF4-FFF2-40B4-BE49-F238E27FC236}">
                <a16:creationId xmlns:a16="http://schemas.microsoft.com/office/drawing/2014/main" id="{26DB08A4-01F4-4D3C-A36C-86500D3CCDDA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124318976"/>
              </p:ext>
            </p:extLst>
          </p:nvPr>
        </p:nvGraphicFramePr>
        <p:xfrm>
          <a:off x="182563" y="3360738"/>
          <a:ext cx="9507537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158" name="Espace réservé du texte 2">
            <a:extLst>
              <a:ext uri="{FF2B5EF4-FFF2-40B4-BE49-F238E27FC236}">
                <a16:creationId xmlns:a16="http://schemas.microsoft.com/office/drawing/2014/main" id="{6FFBD836-76D6-4706-9391-961BBE0A226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04875" y="4575175"/>
            <a:ext cx="214313" cy="15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D9BAFA-7CC3-4474-8B7D-8B373AA14078}" type="datetime'''''''''''''''''''''''0.''''''''''''''''4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0.4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5C66A23C-D266-4CAF-B9D5-1D29DB1EBAE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79438" y="46482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8D2C30-4262-4C07-9E89-01D678BDD1B1}" type="datetime'''''''''''''3.''''0''''''''''''''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5" name="Espace réservé du texte 2">
            <a:extLst>
              <a:ext uri="{FF2B5EF4-FFF2-40B4-BE49-F238E27FC236}">
                <a16:creationId xmlns:a16="http://schemas.microsoft.com/office/drawing/2014/main" id="{4A59B4EB-D46A-4E72-ABAA-534E7284D85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885949" y="3527425"/>
            <a:ext cx="26035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50BE83B-9D15-4D46-99D1-2470EE3B6A41}" type="datetime'''''''''''''-''''''''''1''''''''''''''.''''''1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1.1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9" name="Espace réservé du texte 2">
            <a:extLst>
              <a:ext uri="{FF2B5EF4-FFF2-40B4-BE49-F238E27FC236}">
                <a16:creationId xmlns:a16="http://schemas.microsoft.com/office/drawing/2014/main" id="{226A7B05-7225-451C-ACC8-7044A2E4CEEC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876425" y="4832350"/>
            <a:ext cx="2794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294A66D-13F1-409F-BB49-0FCE251ECB32}" type="datetime'''''''''''''''''''''D''N''''''''''''''B''''i''''''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NBi</a:t>
            </a:fld>
            <a:endParaRPr lang="fr-FR" sz="1000">
              <a:latin typeface="+mn-lt"/>
            </a:endParaRPr>
          </a:p>
        </p:txBody>
      </p:sp>
      <p:sp>
        <p:nvSpPr>
          <p:cNvPr id="162" name="Espace réservé du texte 2">
            <a:extLst>
              <a:ext uri="{FF2B5EF4-FFF2-40B4-BE49-F238E27FC236}">
                <a16:creationId xmlns:a16="http://schemas.microsoft.com/office/drawing/2014/main" id="{9749F131-8635-40E1-92E7-2788F9881D7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052762" y="3594100"/>
            <a:ext cx="260350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23AF1A5-1285-4E22-A2D9-E06961141EE1}" type="datetime'-''''''2''''''''''''''''''''.''''''''''''''''''''''''''''''0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buNone/>
              </a:pPr>
              <a:t>-2.0</a:t>
            </a:fld>
            <a:endParaRPr lang="fr-FR" sz="1000">
              <a:latin typeface="+mn-lt"/>
            </a:endParaRPr>
          </a:p>
        </p:txBody>
      </p:sp>
      <p:sp>
        <p:nvSpPr>
          <p:cNvPr id="156" name="Espace réservé du texte 2">
            <a:extLst>
              <a:ext uri="{FF2B5EF4-FFF2-40B4-BE49-F238E27FC236}">
                <a16:creationId xmlns:a16="http://schemas.microsoft.com/office/drawing/2014/main" id="{EF9D2E18-A2AD-4C17-809E-504AC2D5639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768600" y="4832350"/>
            <a:ext cx="8286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93CCC6-52BB-4994-92FB-8EA2D03C0CDE}" type="datetime'D''''''BA''''I'''' (''in''''''''cl T''oolk''it U''''''s''age)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BAI (incl Toolkit Usage)</a:t>
            </a:fld>
            <a:endParaRPr lang="fr-FR" sz="1000">
              <a:latin typeface="+mn-lt"/>
            </a:endParaRPr>
          </a:p>
        </p:txBody>
      </p:sp>
      <p:sp>
        <p:nvSpPr>
          <p:cNvPr id="181" name="Espace réservé du texte 2">
            <a:extLst>
              <a:ext uri="{FF2B5EF4-FFF2-40B4-BE49-F238E27FC236}">
                <a16:creationId xmlns:a16="http://schemas.microsoft.com/office/drawing/2014/main" id="{06F854A8-C1A6-4563-BC36-A0F2AC4D87D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869363" y="3265488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AE9B83C-D0E7-4168-9EB7-D5088E0D7956}" type="datetime'''''''''''3''''1.''''''''2''''''''''''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31.2</a:t>
            </a:fld>
            <a:endParaRPr lang="fr-FR" sz="1000" b="1">
              <a:latin typeface="+mn-lt"/>
            </a:endParaRPr>
          </a:p>
        </p:txBody>
      </p:sp>
      <p:sp>
        <p:nvSpPr>
          <p:cNvPr id="174" name="Espace réservé du texte 2">
            <a:extLst>
              <a:ext uri="{FF2B5EF4-FFF2-40B4-BE49-F238E27FC236}">
                <a16:creationId xmlns:a16="http://schemas.microsoft.com/office/drawing/2014/main" id="{961B3912-02E0-476F-9443-E66DCF6A8DD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458200" y="4832350"/>
            <a:ext cx="11271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A80DD27-0141-4475-9EAB-9BB3D87075B9}" type="datetime'''2020 ''''''w''o'''''' ''''m''i''''gr''a''''''ti''''on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2020 wo migration</a:t>
            </a:fld>
            <a:endParaRPr lang="fr-FR" sz="1000" b="1">
              <a:latin typeface="+mn-lt"/>
            </a:endParaRPr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FB55E7CC-F607-4AC4-A954-640181C8A36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221162" y="3640138"/>
            <a:ext cx="260350" cy="152400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F95FCA-9C7C-4169-9AD4-BB8AC60B4DF6}" type="datetime'-''''0''''''''.''''1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-0.1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0" name="Espace réservé du texte 2">
            <a:extLst>
              <a:ext uri="{FF2B5EF4-FFF2-40B4-BE49-F238E27FC236}">
                <a16:creationId xmlns:a16="http://schemas.microsoft.com/office/drawing/2014/main" id="{57704601-FDA1-429A-9535-A530A048E5E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915401" y="3421063"/>
            <a:ext cx="214313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0260E7-26BA-4521-9EE4-9E2ACE99C504}" type="datetime'''''''''''''''''''''2''.''''''''''''5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2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B12C8D30-D43E-4CCF-B60E-A62AA55500D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413375" y="3617913"/>
            <a:ext cx="214313" cy="152400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8D85D05-E5A0-43E0-A474-9635E61EBB1A}" type="datetime'''''''''''''''''''''''''''''''''''''''''''''1''''''''.''''''2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buNone/>
              </a:pPr>
              <a:t>1.2</a:t>
            </a:fld>
            <a:endParaRPr lang="fr-FR" sz="1000">
              <a:latin typeface="+mn-lt"/>
            </a:endParaRPr>
          </a:p>
        </p:txBody>
      </p:sp>
      <p:sp>
        <p:nvSpPr>
          <p:cNvPr id="175" name="Espace réservé du texte 2">
            <a:extLst>
              <a:ext uri="{FF2B5EF4-FFF2-40B4-BE49-F238E27FC236}">
                <a16:creationId xmlns:a16="http://schemas.microsoft.com/office/drawing/2014/main" id="{EEAF0D44-F8B4-4C9C-AE2B-063E9E9B5A63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106988" y="4832350"/>
            <a:ext cx="8270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6CF9FAC-4211-4462-9680-AFEFCDD6DD89}" type="datetime'S''''''''''''h''ar''''e''d'''''''' ''B''''u''c''ke''t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Shared Bucket</a:t>
            </a:fld>
            <a:endParaRPr lang="fr-FR" sz="1000">
              <a:latin typeface="+mn-lt"/>
            </a:endParaRPr>
          </a:p>
        </p:txBody>
      </p:sp>
      <p:sp>
        <p:nvSpPr>
          <p:cNvPr id="163" name="Espace réservé du texte 2">
            <a:extLst>
              <a:ext uri="{FF2B5EF4-FFF2-40B4-BE49-F238E27FC236}">
                <a16:creationId xmlns:a16="http://schemas.microsoft.com/office/drawing/2014/main" id="{81421543-A1B4-4FB6-9202-84E531EF28B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748588" y="3376613"/>
            <a:ext cx="214313" cy="152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6D91B78-55AB-4327-BA88-F1D502C19869}" type="datetime'''''0.''''5'''''''''''''''''''''''''">
              <a:rPr lang="fr-FR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buNone/>
              </a:pPr>
              <a:t>0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5" name="Espace réservé du texte 2">
            <a:extLst>
              <a:ext uri="{FF2B5EF4-FFF2-40B4-BE49-F238E27FC236}">
                <a16:creationId xmlns:a16="http://schemas.microsoft.com/office/drawing/2014/main" id="{1F80219A-9F4E-4821-BBF2-BD5CBA42A2B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580188" y="3490913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EB64AEF-5991-4824-82E9-9D80A52D95BA}" type="datetime'''''''''''''''4''''''.''8''''''''''''''''''''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4.8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2" name="Espace réservé du texte 2">
            <a:extLst>
              <a:ext uri="{FF2B5EF4-FFF2-40B4-BE49-F238E27FC236}">
                <a16:creationId xmlns:a16="http://schemas.microsoft.com/office/drawing/2014/main" id="{73C150B7-E04D-41B3-BFDC-855CEFA54A0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8915400" y="445135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59E2588-9D44-4979-90F8-0773E5C53D16}" type="datetime'''5''''''''''''''''''''''''.''2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5.2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9" name="Espace réservé du texte 2">
            <a:extLst>
              <a:ext uri="{FF2B5EF4-FFF2-40B4-BE49-F238E27FC236}">
                <a16:creationId xmlns:a16="http://schemas.microsoft.com/office/drawing/2014/main" id="{A7585CD4-1851-4C57-8433-BF5BD49A9D1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272213" y="4832350"/>
            <a:ext cx="830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68D15B3-381A-4B39-882E-4609D4E48D57}" type="datetime'G''''''''''''''D''''M'' ''''&amp; T''''''''''''''o''o''lkit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GDM &amp; Toolkit</a:t>
            </a:fld>
            <a:endParaRPr lang="fr-FR" sz="1000">
              <a:latin typeface="+mn-lt"/>
            </a:endParaRPr>
          </a:p>
        </p:txBody>
      </p:sp>
      <p:sp>
        <p:nvSpPr>
          <p:cNvPr id="178" name="Espace réservé du texte 2">
            <a:extLst>
              <a:ext uri="{FF2B5EF4-FFF2-40B4-BE49-F238E27FC236}">
                <a16:creationId xmlns:a16="http://schemas.microsoft.com/office/drawing/2014/main" id="{4114460A-A6ED-428D-AC77-157401BF71B0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375525" y="4832350"/>
            <a:ext cx="958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5D33E5F-FF09-40D8-AC0F-D456C32C621E}" type="datetime'Other products ''not concern''ed'' by the'''' ''migr''ation'''">
              <a:rPr lang="en-US" altLang="en-US" sz="1000" smtClean="0"/>
              <a:pPr marL="0" indent="0" algn="ctr">
                <a:spcBef>
                  <a:spcPct val="0"/>
                </a:spcBef>
                <a:buNone/>
              </a:pPr>
              <a:t>Other products not concerned by the migration</a:t>
            </a:fld>
            <a:endParaRPr lang="fr-FR" sz="1000">
              <a:latin typeface="+mn-lt"/>
            </a:endParaRPr>
          </a:p>
        </p:txBody>
      </p:sp>
      <p:sp>
        <p:nvSpPr>
          <p:cNvPr id="171" name="Espace réservé du texte 2">
            <a:extLst>
              <a:ext uri="{FF2B5EF4-FFF2-40B4-BE49-F238E27FC236}">
                <a16:creationId xmlns:a16="http://schemas.microsoft.com/office/drawing/2014/main" id="{63B0AE7D-BDAD-421B-869C-D24C4DB2D431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915400" y="36036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0C9486-98C5-439F-92CD-3F6F39AC6733}" type="datetime'''''''''''''''''''''''6.0''''''''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6.0</a:t>
            </a:fld>
            <a:endParaRPr lang="fr-FR" sz="1000">
              <a:latin typeface="+mn-lt"/>
            </a:endParaRPr>
          </a:p>
        </p:txBody>
      </p:sp>
      <p:sp>
        <p:nvSpPr>
          <p:cNvPr id="176" name="Espace réservé du texte 2">
            <a:extLst>
              <a:ext uri="{FF2B5EF4-FFF2-40B4-BE49-F238E27FC236}">
                <a16:creationId xmlns:a16="http://schemas.microsoft.com/office/drawing/2014/main" id="{A0A18266-BDBC-49BD-A056-1D980292D708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8882063" y="4010025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94251B7-F5C8-4976-8DA8-D18D360D174F}" type="datetime'''''''1''''''''''''''''2''''''.''9''''''''''''''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12.9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7" name="Espace réservé du texte 2">
            <a:extLst>
              <a:ext uri="{FF2B5EF4-FFF2-40B4-BE49-F238E27FC236}">
                <a16:creationId xmlns:a16="http://schemas.microsoft.com/office/drawing/2014/main" id="{8DC6E773-90F1-460C-B279-7E095CE2FE5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915400" y="4313238"/>
            <a:ext cx="214313" cy="152400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150C373-29E9-4BF7-93A2-C592162BBA3D}" type="datetime'''''''1''''.''''''''''''2'''''''">
              <a:rPr lang="fr-FR" altLang="en-US" sz="1000" smtClean="0">
                <a:effectLst/>
              </a:rPr>
              <a:pPr marL="0" indent="0" algn="ctr">
                <a:spcBef>
                  <a:spcPct val="0"/>
                </a:spcBef>
                <a:buNone/>
              </a:pPr>
              <a:t>1.2</a:t>
            </a:fld>
            <a:endParaRPr lang="fr-FR" sz="1000">
              <a:latin typeface="+mn-lt"/>
            </a:endParaRPr>
          </a:p>
        </p:txBody>
      </p:sp>
      <p:sp>
        <p:nvSpPr>
          <p:cNvPr id="173" name="Espace réservé du texte 2">
            <a:extLst>
              <a:ext uri="{FF2B5EF4-FFF2-40B4-BE49-F238E27FC236}">
                <a16:creationId xmlns:a16="http://schemas.microsoft.com/office/drawing/2014/main" id="{B3A85013-27C7-4AC9-B6F2-FC2A065C92F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8915400" y="463867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0789D4-1D42-4DCC-9C50-2F68F6F54DEE}" type="datetime'3.''5''''''''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.5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9" name="Espace réservé du texte 2">
            <a:extLst>
              <a:ext uri="{FF2B5EF4-FFF2-40B4-BE49-F238E27FC236}">
                <a16:creationId xmlns:a16="http://schemas.microsoft.com/office/drawing/2014/main" id="{8C0E345A-3C62-4345-A6A6-ED6D23D26C4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741363" y="3832225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4A11BF-0FB8-4BB4-8046-0D3BD28BB2A4}" type="datetime'''''''''''''''7''''''''''''''''''.''''9''''''''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7.9</a:t>
            </a:fld>
            <a:endParaRPr lang="fr-FR" sz="1000">
              <a:latin typeface="+mn-lt"/>
            </a:endParaRPr>
          </a:p>
        </p:txBody>
      </p:sp>
      <p:sp>
        <p:nvSpPr>
          <p:cNvPr id="177" name="Espace réservé du texte 2">
            <a:extLst>
              <a:ext uri="{FF2B5EF4-FFF2-40B4-BE49-F238E27FC236}">
                <a16:creationId xmlns:a16="http://schemas.microsoft.com/office/drawing/2014/main" id="{98087942-881E-4D83-BD07-1B7DFA44E90B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741363" y="3581400"/>
            <a:ext cx="2143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F073123-6945-468D-B86F-985D6ADC0202}" type="datetime'''''''''''''''3''''''''''''''''''.''''''''''6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.6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F63549C8-C607-4C75-957D-A04EDFB6037A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87375" y="4832350"/>
            <a:ext cx="5222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B573D0B-6459-4641-9021-B4BA34F58A7D}" type="datetime'2''0''''1''''''''''''''''''''''''''''''''''''''''9'''' (A)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2019 (A)</a:t>
            </a:fld>
            <a:endParaRPr lang="fr-FR" sz="1000" b="1">
              <a:latin typeface="+mn-lt"/>
            </a:endParaRPr>
          </a:p>
        </p:txBody>
      </p:sp>
      <p:sp>
        <p:nvSpPr>
          <p:cNvPr id="157" name="Espace réservé du texte 2">
            <a:extLst>
              <a:ext uri="{FF2B5EF4-FFF2-40B4-BE49-F238E27FC236}">
                <a16:creationId xmlns:a16="http://schemas.microsoft.com/office/drawing/2014/main" id="{58F20243-8FEE-4E74-91FE-CA462C21C1C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708025" y="4284663"/>
            <a:ext cx="2809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684A2B-4EE9-48D0-A306-8717D51B9A7C}" type="datetime'''''''''''1''''''''''''''''''''''''3''.''''''''''''''0'''">
              <a:rPr lang="fr-F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13.0</a:t>
            </a:fld>
            <a:endParaRPr lang="fr-FR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0" name="Espace réservé du texte 2">
            <a:extLst>
              <a:ext uri="{FF2B5EF4-FFF2-40B4-BE49-F238E27FC236}">
                <a16:creationId xmlns:a16="http://schemas.microsoft.com/office/drawing/2014/main" id="{196E37F8-2023-426A-93FD-D8701BBC5501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695325" y="3402013"/>
            <a:ext cx="304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326073C-80A9-4006-8EC0-FBB373D165A0}" type="datetime'''''''2''''''''''''''''''''''''''''8''''''.''''''''''0'''''">
              <a:rPr lang="fr-FR" altLang="en-US" sz="1000" b="1" smtClean="0"/>
              <a:pPr marL="0" indent="0" algn="ctr">
                <a:spcBef>
                  <a:spcPct val="0"/>
                </a:spcBef>
                <a:buNone/>
              </a:pPr>
              <a:t>28.0</a:t>
            </a:fld>
            <a:endParaRPr lang="fr-FR" sz="1000" b="1">
              <a:latin typeface="+mn-lt"/>
            </a:endParaRPr>
          </a:p>
        </p:txBody>
      </p:sp>
      <p:sp>
        <p:nvSpPr>
          <p:cNvPr id="166" name="Espace réservé du texte 2">
            <a:extLst>
              <a:ext uri="{FF2B5EF4-FFF2-40B4-BE49-F238E27FC236}">
                <a16:creationId xmlns:a16="http://schemas.microsoft.com/office/drawing/2014/main" id="{315C1A59-6188-4670-BD26-1526E5FC03D4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030663" y="4832350"/>
            <a:ext cx="6429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725" indent="-187325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2pPr>
            <a:lvl3pPr marL="1076325" indent="-2286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3pPr>
            <a:lvl4pPr marL="1654175" indent="-2857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GB" altLang="en-GB" sz="1200" dirty="0">
                <a:solidFill>
                  <a:schemeClr val="tx1"/>
                </a:solidFill>
                <a:latin typeface="+mj-lt"/>
              </a:defRPr>
            </a:lvl4pPr>
            <a:lvl5pPr marL="2152650" indent="-17145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j-lt"/>
              </a:defRPr>
            </a:lvl5pPr>
            <a:lvl6pPr marL="2667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6pPr>
            <a:lvl7pPr marL="3124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7pPr>
            <a:lvl8pPr marL="3581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8pPr>
            <a:lvl9pPr marL="4038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6800"/>
              </a:buClr>
              <a:buSzPct val="50000"/>
              <a:buFont typeface="Monotype Sorts" pitchFamily="2" charset="2"/>
              <a:buChar char="n"/>
              <a:defRPr sz="2000">
                <a:solidFill>
                  <a:schemeClr val="tx1"/>
                </a:solidFill>
                <a:latin typeface="Helvetica 65 Medium" pitchFamily="2" charset="0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99DE4FA-8796-4F4B-BBED-9A47AB9B9C6F}" type="datetime'D''''''''''''&amp;''''B ''C''''''''''r''''''e''''''d''''it'''''''">
              <a:rPr lang="fr-FR" altLang="en-US" sz="1000" smtClean="0"/>
              <a:pPr marL="0" indent="0" algn="ctr">
                <a:spcBef>
                  <a:spcPct val="0"/>
                </a:spcBef>
                <a:buNone/>
              </a:pPr>
              <a:t>D&amp;B Credit</a:t>
            </a:fld>
            <a:endParaRPr lang="fr-FR" sz="1000">
              <a:latin typeface="+mn-lt"/>
            </a:endParaRPr>
          </a:p>
        </p:txBody>
      </p:sp>
      <p:sp>
        <p:nvSpPr>
          <p:cNvPr id="364" name="Rectangle : coins arrondis 199">
            <a:extLst>
              <a:ext uri="{FF2B5EF4-FFF2-40B4-BE49-F238E27FC236}">
                <a16:creationId xmlns:a16="http://schemas.microsoft.com/office/drawing/2014/main" id="{8451D16B-D84D-482A-A648-2750F628332B}"/>
              </a:ext>
            </a:extLst>
          </p:cNvPr>
          <p:cNvSpPr/>
          <p:nvPr/>
        </p:nvSpPr>
        <p:spPr bwMode="auto">
          <a:xfrm>
            <a:off x="8508412" y="196035"/>
            <a:ext cx="335598" cy="21213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5" name="Rectangle : coins arrondis 200">
            <a:extLst>
              <a:ext uri="{FF2B5EF4-FFF2-40B4-BE49-F238E27FC236}">
                <a16:creationId xmlns:a16="http://schemas.microsoft.com/office/drawing/2014/main" id="{7B9D39F4-D9E1-44B7-A08C-EF3E7594E2EB}"/>
              </a:ext>
            </a:extLst>
          </p:cNvPr>
          <p:cNvSpPr/>
          <p:nvPr/>
        </p:nvSpPr>
        <p:spPr bwMode="auto">
          <a:xfrm>
            <a:off x="8923225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6" name="Rectangle : coins arrondis 201">
            <a:extLst>
              <a:ext uri="{FF2B5EF4-FFF2-40B4-BE49-F238E27FC236}">
                <a16:creationId xmlns:a16="http://schemas.microsoft.com/office/drawing/2014/main" id="{20775784-4961-4809-A261-CC17F3A47D0C}"/>
              </a:ext>
            </a:extLst>
          </p:cNvPr>
          <p:cNvSpPr/>
          <p:nvPr/>
        </p:nvSpPr>
        <p:spPr bwMode="auto">
          <a:xfrm>
            <a:off x="9338038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67" name="ZoneTexte 18">
            <a:extLst>
              <a:ext uri="{FF2B5EF4-FFF2-40B4-BE49-F238E27FC236}">
                <a16:creationId xmlns:a16="http://schemas.microsoft.com/office/drawing/2014/main" id="{39AFC2BA-3A2E-4D08-B9F4-61D23BD9FDA2}"/>
              </a:ext>
            </a:extLst>
          </p:cNvPr>
          <p:cNvSpPr txBox="1"/>
          <p:nvPr/>
        </p:nvSpPr>
        <p:spPr>
          <a:xfrm>
            <a:off x="8448150" y="-11528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err="1">
                <a:solidFill>
                  <a:schemeClr val="tx2"/>
                </a:solidFill>
                <a:latin typeface="Trebuchet MS" panose="020B0603020202020204" pitchFamily="34" charset="0"/>
              </a:rPr>
              <a:t>Altares</a:t>
            </a:r>
            <a:r>
              <a:rPr lang="en-GB" sz="800">
                <a:solidFill>
                  <a:schemeClr val="tx2"/>
                </a:solidFill>
                <a:latin typeface="Trebuchet MS" panose="020B0603020202020204" pitchFamily="34" charset="0"/>
              </a:rPr>
              <a:t>’ offering</a:t>
            </a:r>
          </a:p>
        </p:txBody>
      </p:sp>
      <p:pic>
        <p:nvPicPr>
          <p:cNvPr id="368" name="Graphique 128" descr="Jauge">
            <a:extLst>
              <a:ext uri="{FF2B5EF4-FFF2-40B4-BE49-F238E27FC236}">
                <a16:creationId xmlns:a16="http://schemas.microsoft.com/office/drawing/2014/main" id="{268BD060-9FCB-4D62-ADC6-651D153060D3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8553764" y="187516"/>
            <a:ext cx="234953" cy="218224"/>
          </a:xfrm>
          <a:prstGeom prst="rect">
            <a:avLst/>
          </a:prstGeom>
          <a:effectLst/>
        </p:spPr>
      </p:pic>
      <p:pic>
        <p:nvPicPr>
          <p:cNvPr id="369" name="Graphique 90" descr="Poignée de main">
            <a:extLst>
              <a:ext uri="{FF2B5EF4-FFF2-40B4-BE49-F238E27FC236}">
                <a16:creationId xmlns:a16="http://schemas.microsoft.com/office/drawing/2014/main" id="{633B5CDB-D3DE-4162-B9EF-7BD317CCA802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8960868" y="152880"/>
            <a:ext cx="256313" cy="287496"/>
          </a:xfrm>
          <a:prstGeom prst="rect">
            <a:avLst/>
          </a:prstGeom>
          <a:effectLst/>
        </p:spPr>
      </p:pic>
      <p:pic>
        <p:nvPicPr>
          <p:cNvPr id="370" name="Graphique 74" descr="Mégaphone">
            <a:extLst>
              <a:ext uri="{FF2B5EF4-FFF2-40B4-BE49-F238E27FC236}">
                <a16:creationId xmlns:a16="http://schemas.microsoft.com/office/drawing/2014/main" id="{FFD71595-106D-48B7-B1D3-F72940A76F46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9389331" y="181519"/>
            <a:ext cx="233011" cy="216420"/>
          </a:xfrm>
          <a:prstGeom prst="rect">
            <a:avLst/>
          </a:prstGeom>
          <a:effectLst/>
        </p:spPr>
      </p:pic>
      <p:sp>
        <p:nvSpPr>
          <p:cNvPr id="375" name="ZoneTexte 18">
            <a:extLst>
              <a:ext uri="{FF2B5EF4-FFF2-40B4-BE49-F238E27FC236}">
                <a16:creationId xmlns:a16="http://schemas.microsoft.com/office/drawing/2014/main" id="{75237AA5-C2C5-4937-A3E0-56A8D0BA8F46}"/>
              </a:ext>
            </a:extLst>
          </p:cNvPr>
          <p:cNvSpPr txBox="1"/>
          <p:nvPr/>
        </p:nvSpPr>
        <p:spPr>
          <a:xfrm>
            <a:off x="8448150" y="361171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latin typeface="Trebuchet MS" panose="020B0603020202020204" pitchFamily="34" charset="0"/>
              </a:rPr>
              <a:t>Product dynamics</a:t>
            </a:r>
          </a:p>
        </p:txBody>
      </p:sp>
      <p:pic>
        <p:nvPicPr>
          <p:cNvPr id="377" name="Picture 2" descr="5 ft x 3 ft 150 x 90 cm-DRAPEAU BELGE Belgique 100% Polyester ...">
            <a:extLst>
              <a:ext uri="{FF2B5EF4-FFF2-40B4-BE49-F238E27FC236}">
                <a16:creationId xmlns:a16="http://schemas.microsoft.com/office/drawing/2014/main" id="{4B951238-55D0-4FA6-A942-43204ADE6D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3"/>
          <a:stretch/>
        </p:blipFill>
        <p:spPr bwMode="auto">
          <a:xfrm>
            <a:off x="9704111" y="187304"/>
            <a:ext cx="17917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378" name="Picture 2 - 1" descr="Drapeau des Pays-Bas — Wikipédia">
            <a:extLst>
              <a:ext uri="{FF2B5EF4-FFF2-40B4-BE49-F238E27FC236}">
                <a16:creationId xmlns:a16="http://schemas.microsoft.com/office/drawing/2014/main" id="{188E78B5-09E6-4A1F-A43A-842706C12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112" y="311715"/>
            <a:ext cx="179171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379" name="Picture 2 - 2" descr="Drapeau du Luxembourg">
            <a:extLst>
              <a:ext uri="{FF2B5EF4-FFF2-40B4-BE49-F238E27FC236}">
                <a16:creationId xmlns:a16="http://schemas.microsoft.com/office/drawing/2014/main" id="{9542EFEE-DF68-491E-81FD-BE2B60ADA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3696" y="436125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BA26C06F-3D5D-4A61-986F-F963A5014473}"/>
              </a:ext>
            </a:extLst>
          </p:cNvPr>
          <p:cNvSpPr txBox="1"/>
          <p:nvPr/>
        </p:nvSpPr>
        <p:spPr>
          <a:xfrm flipH="1">
            <a:off x="7904741" y="6009079"/>
            <a:ext cx="17593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>
                <a:solidFill>
                  <a:schemeClr val="accent1"/>
                </a:solidFill>
                <a:latin typeface="+mj-lt"/>
              </a:rPr>
              <a:t>See calculation details slide 7</a:t>
            </a:r>
          </a:p>
        </p:txBody>
      </p:sp>
      <p:pic>
        <p:nvPicPr>
          <p:cNvPr id="105" name="Graphic 104" descr="Magnifying glass with solid fill">
            <a:extLst>
              <a:ext uri="{FF2B5EF4-FFF2-40B4-BE49-F238E27FC236}">
                <a16:creationId xmlns:a16="http://schemas.microsoft.com/office/drawing/2014/main" id="{D159A7B6-24CE-47EC-B737-1493A7F6969A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 flipH="1">
            <a:off x="7527861" y="6020694"/>
            <a:ext cx="376880" cy="376880"/>
          </a:xfrm>
          <a:prstGeom prst="rect">
            <a:avLst/>
          </a:prstGeom>
        </p:spPr>
      </p:pic>
      <p:sp>
        <p:nvSpPr>
          <p:cNvPr id="189" name="Speech Bubble: Rectangle 188">
            <a:extLst>
              <a:ext uri="{FF2B5EF4-FFF2-40B4-BE49-F238E27FC236}">
                <a16:creationId xmlns:a16="http://schemas.microsoft.com/office/drawing/2014/main" id="{4891F337-0DC4-48EA-A95A-73780135F9F7}"/>
              </a:ext>
            </a:extLst>
          </p:cNvPr>
          <p:cNvSpPr/>
          <p:nvPr/>
        </p:nvSpPr>
        <p:spPr bwMode="auto">
          <a:xfrm>
            <a:off x="2895963" y="4065589"/>
            <a:ext cx="770797" cy="442914"/>
          </a:xfrm>
          <a:prstGeom prst="wedgeRectCallout">
            <a:avLst>
              <a:gd name="adj1" fmla="val -10202"/>
              <a:gd name="adj2" fmla="val -9243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gration </a:t>
            </a:r>
            <a:r>
              <a:rPr kumimoji="0" lang="fr-FR" sz="9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effect</a:t>
            </a: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: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€-5.6m</a:t>
            </a:r>
          </a:p>
        </p:txBody>
      </p:sp>
      <p:sp>
        <p:nvSpPr>
          <p:cNvPr id="190" name="Speech Bubble: Rectangle 189">
            <a:extLst>
              <a:ext uri="{FF2B5EF4-FFF2-40B4-BE49-F238E27FC236}">
                <a16:creationId xmlns:a16="http://schemas.microsoft.com/office/drawing/2014/main" id="{079E8061-CC0D-46F0-8E84-4426A274A954}"/>
              </a:ext>
            </a:extLst>
          </p:cNvPr>
          <p:cNvSpPr/>
          <p:nvPr/>
        </p:nvSpPr>
        <p:spPr bwMode="auto">
          <a:xfrm>
            <a:off x="4027488" y="4065589"/>
            <a:ext cx="770797" cy="442914"/>
          </a:xfrm>
          <a:prstGeom prst="wedgeRectCallout">
            <a:avLst>
              <a:gd name="adj1" fmla="val -10202"/>
              <a:gd name="adj2" fmla="val -9243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gration </a:t>
            </a:r>
            <a:r>
              <a:rPr kumimoji="0" lang="fr-FR" sz="9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effect</a:t>
            </a: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: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€+1.3m</a:t>
            </a:r>
          </a:p>
        </p:txBody>
      </p:sp>
      <p:sp>
        <p:nvSpPr>
          <p:cNvPr id="191" name="Speech Bubble: Rectangle 190">
            <a:extLst>
              <a:ext uri="{FF2B5EF4-FFF2-40B4-BE49-F238E27FC236}">
                <a16:creationId xmlns:a16="http://schemas.microsoft.com/office/drawing/2014/main" id="{68141EF3-103D-4CBC-ACBA-73980BC4CB3F}"/>
              </a:ext>
            </a:extLst>
          </p:cNvPr>
          <p:cNvSpPr/>
          <p:nvPr/>
        </p:nvSpPr>
        <p:spPr bwMode="auto">
          <a:xfrm>
            <a:off x="1770426" y="4065589"/>
            <a:ext cx="770797" cy="442914"/>
          </a:xfrm>
          <a:prstGeom prst="wedgeRectCallout">
            <a:avLst>
              <a:gd name="adj1" fmla="val -10202"/>
              <a:gd name="adj2" fmla="val -9243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gration </a:t>
            </a:r>
            <a:r>
              <a:rPr kumimoji="0" lang="fr-FR" sz="9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effect</a:t>
            </a: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: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€-2.5m</a:t>
            </a:r>
          </a:p>
        </p:txBody>
      </p:sp>
      <p:sp>
        <p:nvSpPr>
          <p:cNvPr id="192" name="Speech Bubble: Rectangle 191">
            <a:extLst>
              <a:ext uri="{FF2B5EF4-FFF2-40B4-BE49-F238E27FC236}">
                <a16:creationId xmlns:a16="http://schemas.microsoft.com/office/drawing/2014/main" id="{7031BA89-51F6-4588-9260-B156D18F9D2C}"/>
              </a:ext>
            </a:extLst>
          </p:cNvPr>
          <p:cNvSpPr/>
          <p:nvPr/>
        </p:nvSpPr>
        <p:spPr bwMode="auto">
          <a:xfrm>
            <a:off x="5159013" y="4065589"/>
            <a:ext cx="770797" cy="442914"/>
          </a:xfrm>
          <a:prstGeom prst="wedgeRectCallout">
            <a:avLst>
              <a:gd name="adj1" fmla="val -10202"/>
              <a:gd name="adj2" fmla="val -92430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igration </a:t>
            </a:r>
            <a:r>
              <a:rPr kumimoji="0" lang="fr-FR" sz="9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effect</a:t>
            </a:r>
            <a:r>
              <a:rPr kumimoji="0" lang="fr-FR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: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€+2.3m</a:t>
            </a:r>
          </a:p>
        </p:txBody>
      </p:sp>
    </p:spTree>
    <p:extLst>
      <p:ext uri="{BB962C8B-B14F-4D97-AF65-F5344CB8AC3E}">
        <p14:creationId xmlns:p14="http://schemas.microsoft.com/office/powerpoint/2010/main" val="2701412712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>
            <a:extLst>
              <a:ext uri="{FF2B5EF4-FFF2-40B4-BE49-F238E27FC236}">
                <a16:creationId xmlns:a16="http://schemas.microsoft.com/office/drawing/2014/main" id="{74AC3B4F-850A-4E3E-81F6-9C9FA9B887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416" imgH="423" progId="TCLayout.ActiveDocument.1">
                  <p:embed/>
                </p:oleObj>
              </mc:Choice>
              <mc:Fallback>
                <p:oleObj name="think-cell Slide" r:id="rId4" imgW="416" imgH="423" progId="TCLayout.ActiveDocument.1">
                  <p:embed/>
                  <p:pic>
                    <p:nvPicPr>
                      <p:cNvPr id="61" name="Object 60" hidden="1">
                        <a:extLst>
                          <a:ext uri="{FF2B5EF4-FFF2-40B4-BE49-F238E27FC236}">
                            <a16:creationId xmlns:a16="http://schemas.microsoft.com/office/drawing/2014/main" id="{74AC3B4F-850A-4E3E-81F6-9C9FA9B88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948E24-D7C7-4DB0-A16A-05385A04EF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Sources: BP Management, interviews with management, company data, eleven research &amp; analys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232C87-A483-4737-984D-DA0529E09521}"/>
              </a:ext>
            </a:extLst>
          </p:cNvPr>
          <p:cNvSpPr/>
          <p:nvPr/>
        </p:nvSpPr>
        <p:spPr bwMode="auto">
          <a:xfrm>
            <a:off x="5479495" y="996008"/>
            <a:ext cx="1044341" cy="396127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DBAI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537AE5-2EE2-4FC4-914D-BD57B43566C1}"/>
              </a:ext>
            </a:extLst>
          </p:cNvPr>
          <p:cNvSpPr/>
          <p:nvPr/>
        </p:nvSpPr>
        <p:spPr bwMode="auto">
          <a:xfrm>
            <a:off x="183004" y="1450504"/>
            <a:ext cx="1044341" cy="267559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2019 LFL customers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FEDCC6-CDD4-440D-829C-B12D4E322611}"/>
              </a:ext>
            </a:extLst>
          </p:cNvPr>
          <p:cNvSpPr/>
          <p:nvPr/>
        </p:nvSpPr>
        <p:spPr bwMode="auto">
          <a:xfrm>
            <a:off x="4329350" y="996008"/>
            <a:ext cx="1044341" cy="396127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D&amp;B Credit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21F37D-6FAA-4CC9-A2AD-E6AF9A9D2990}"/>
              </a:ext>
            </a:extLst>
          </p:cNvPr>
          <p:cNvSpPr/>
          <p:nvPr/>
        </p:nvSpPr>
        <p:spPr bwMode="auto">
          <a:xfrm>
            <a:off x="1374077" y="1450504"/>
            <a:ext cx="2842587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2019 b</a:t>
            </a:r>
            <a:r>
              <a:rPr lang="en-GB" sz="1100">
                <a:latin typeface="Trebuchet MS" pitchFamily="34" charset="0"/>
              </a:rPr>
              <a:t>ooking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92016C-9302-4C65-ACBA-525935D53E1F}"/>
              </a:ext>
            </a:extLst>
          </p:cNvPr>
          <p:cNvSpPr/>
          <p:nvPr/>
        </p:nvSpPr>
        <p:spPr bwMode="auto">
          <a:xfrm>
            <a:off x="1374077" y="1905796"/>
            <a:ext cx="2842585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booking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with</a:t>
            </a:r>
            <a:r>
              <a:rPr lang="en-GB" sz="1100">
                <a:latin typeface="Trebuchet MS" pitchFamily="34" charset="0"/>
              </a:rPr>
              <a:t>out migratio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846859-3C5E-45F5-8CEA-4BF842383A7A}"/>
              </a:ext>
            </a:extLst>
          </p:cNvPr>
          <p:cNvSpPr/>
          <p:nvPr/>
        </p:nvSpPr>
        <p:spPr bwMode="auto">
          <a:xfrm>
            <a:off x="1374078" y="2362288"/>
            <a:ext cx="284258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actual booking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E38945-D418-48AA-BB80-273D739DAC13}"/>
              </a:ext>
            </a:extLst>
          </p:cNvPr>
          <p:cNvSpPr/>
          <p:nvPr/>
        </p:nvSpPr>
        <p:spPr bwMode="auto">
          <a:xfrm>
            <a:off x="5479495" y="1450504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€</a:t>
            </a: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1,894,28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1E50DF-0252-484B-BA90-34F08E1AACED}"/>
              </a:ext>
            </a:extLst>
          </p:cNvPr>
          <p:cNvSpPr/>
          <p:nvPr/>
        </p:nvSpPr>
        <p:spPr bwMode="auto">
          <a:xfrm>
            <a:off x="5479495" y="1905796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€ </a:t>
            </a: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1,666,971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E65EC8A9-8C68-492F-B647-03734EEAED94}"/>
              </a:ext>
            </a:extLst>
          </p:cNvPr>
          <p:cNvCxnSpPr>
            <a:cxnSpLocks/>
            <a:stCxn id="13" idx="3"/>
            <a:endCxn id="15" idx="3"/>
          </p:cNvCxnSpPr>
          <p:nvPr/>
        </p:nvCxnSpPr>
        <p:spPr bwMode="auto">
          <a:xfrm>
            <a:off x="6523836" y="1648568"/>
            <a:ext cx="12700" cy="455292"/>
          </a:xfrm>
          <a:prstGeom prst="bentConnector3">
            <a:avLst>
              <a:gd name="adj1" fmla="val 77417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DA92709-5D4D-46C9-9368-0574742BD62B}"/>
              </a:ext>
            </a:extLst>
          </p:cNvPr>
          <p:cNvSpPr/>
          <p:nvPr/>
        </p:nvSpPr>
        <p:spPr bwMode="auto">
          <a:xfrm>
            <a:off x="7767484" y="1546022"/>
            <a:ext cx="1346260" cy="68400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Historical renewal rate excl. DBI: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latin typeface="Trebuchet MS" pitchFamily="34" charset="0"/>
              </a:rPr>
              <a:t>88</a:t>
            </a:r>
            <a:r>
              <a:rPr kumimoji="0" lang="en-GB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34F8C34-BE76-40CB-88FA-1EC2165DC6C2}"/>
              </a:ext>
            </a:extLst>
          </p:cNvPr>
          <p:cNvSpPr/>
          <p:nvPr/>
        </p:nvSpPr>
        <p:spPr bwMode="auto">
          <a:xfrm>
            <a:off x="5479495" y="2362288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699,029 </a:t>
            </a:r>
            <a:r>
              <a:rPr lang="en-GB" sz="1100">
                <a:latin typeface="Trebuchet MS" pitchFamily="34" charset="0"/>
              </a:rPr>
              <a:t>€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F14BD07-6DD5-42B4-8178-0D33D7F4FEBA}"/>
              </a:ext>
            </a:extLst>
          </p:cNvPr>
          <p:cNvSpPr/>
          <p:nvPr/>
        </p:nvSpPr>
        <p:spPr bwMode="auto">
          <a:xfrm>
            <a:off x="1374077" y="2818180"/>
            <a:ext cx="2842583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New bookings from existing customer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AE54605-08AD-4F53-87E6-590F28734F81}"/>
              </a:ext>
            </a:extLst>
          </p:cNvPr>
          <p:cNvSpPr/>
          <p:nvPr/>
        </p:nvSpPr>
        <p:spPr bwMode="auto">
          <a:xfrm>
            <a:off x="4329350" y="2818180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+€322,18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DF3BEF-4A69-4AC1-B4B6-7ABE0D474C98}"/>
              </a:ext>
            </a:extLst>
          </p:cNvPr>
          <p:cNvSpPr/>
          <p:nvPr/>
        </p:nvSpPr>
        <p:spPr bwMode="auto">
          <a:xfrm>
            <a:off x="1374077" y="3274072"/>
            <a:ext cx="2842581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Impact of migration on LFL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63B431-ACEE-4C67-9BC1-30A4FBBF45CA}"/>
              </a:ext>
            </a:extLst>
          </p:cNvPr>
          <p:cNvSpPr/>
          <p:nvPr/>
        </p:nvSpPr>
        <p:spPr bwMode="auto">
          <a:xfrm>
            <a:off x="5479495" y="3274072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Trebuchet MS" pitchFamily="34" charset="0"/>
              </a:rPr>
              <a:t>-€967,94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6A34723-970C-4C77-8780-AA6B8B1CD8C6}"/>
              </a:ext>
            </a:extLst>
          </p:cNvPr>
          <p:cNvSpPr/>
          <p:nvPr/>
        </p:nvSpPr>
        <p:spPr bwMode="auto">
          <a:xfrm>
            <a:off x="4329350" y="3274072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rebuchet MS" pitchFamily="34" charset="0"/>
              </a:rPr>
              <a:t>+€322,189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904EE5-6D40-4226-8199-12E35B957EE8}"/>
              </a:ext>
            </a:extLst>
          </p:cNvPr>
          <p:cNvSpPr/>
          <p:nvPr/>
        </p:nvSpPr>
        <p:spPr bwMode="auto">
          <a:xfrm>
            <a:off x="4325908" y="1450504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DF87E3A-40F2-4893-A76F-1981907A5171}"/>
              </a:ext>
            </a:extLst>
          </p:cNvPr>
          <p:cNvSpPr/>
          <p:nvPr/>
        </p:nvSpPr>
        <p:spPr bwMode="auto">
          <a:xfrm>
            <a:off x="4325908" y="1905796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2FB87B-932B-4789-A6CF-DDA6CA12390D}"/>
              </a:ext>
            </a:extLst>
          </p:cNvPr>
          <p:cNvSpPr/>
          <p:nvPr/>
        </p:nvSpPr>
        <p:spPr bwMode="auto">
          <a:xfrm>
            <a:off x="4325908" y="2362288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1048D8-B696-42DF-8F2E-22F2444B1C63}"/>
              </a:ext>
            </a:extLst>
          </p:cNvPr>
          <p:cNvSpPr/>
          <p:nvPr/>
        </p:nvSpPr>
        <p:spPr bwMode="auto">
          <a:xfrm>
            <a:off x="5479495" y="2818180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F0E5BDC-690E-4FE8-93EC-BDEC81BE0B5F}"/>
              </a:ext>
            </a:extLst>
          </p:cNvPr>
          <p:cNvSpPr/>
          <p:nvPr/>
        </p:nvSpPr>
        <p:spPr bwMode="auto">
          <a:xfrm>
            <a:off x="1374077" y="3729966"/>
            <a:ext cx="2842581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latin typeface="Trebuchet MS" pitchFamily="34" charset="0"/>
              </a:rPr>
              <a:t>Total impact on LFL customers</a:t>
            </a:r>
            <a:endParaRPr kumimoji="0" lang="en-GB" sz="1100" b="1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4BB47DB-3661-471A-8D8F-11DE084EA259}"/>
              </a:ext>
            </a:extLst>
          </p:cNvPr>
          <p:cNvSpPr/>
          <p:nvPr/>
        </p:nvSpPr>
        <p:spPr bwMode="auto">
          <a:xfrm>
            <a:off x="4329350" y="3729966"/>
            <a:ext cx="2194485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645,753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3C4FD8F-7704-4EB8-8E13-8AE1636842D5}"/>
              </a:ext>
            </a:extLst>
          </p:cNvPr>
          <p:cNvSpPr/>
          <p:nvPr/>
        </p:nvSpPr>
        <p:spPr bwMode="auto">
          <a:xfrm>
            <a:off x="183000" y="4232211"/>
            <a:ext cx="1044341" cy="2237376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2020 Churner customers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0D9DDC4-A520-45C6-91FD-127BDBB6B488}"/>
              </a:ext>
            </a:extLst>
          </p:cNvPr>
          <p:cNvSpPr/>
          <p:nvPr/>
        </p:nvSpPr>
        <p:spPr bwMode="auto">
          <a:xfrm>
            <a:off x="1374073" y="4232211"/>
            <a:ext cx="2842587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2019 b</a:t>
            </a:r>
            <a:r>
              <a:rPr lang="en-GB" sz="1100">
                <a:latin typeface="Trebuchet MS" pitchFamily="34" charset="0"/>
              </a:rPr>
              <a:t>ooking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A41023A-5382-4D49-9A91-8F026E1C452D}"/>
              </a:ext>
            </a:extLst>
          </p:cNvPr>
          <p:cNvSpPr/>
          <p:nvPr/>
        </p:nvSpPr>
        <p:spPr bwMode="auto">
          <a:xfrm>
            <a:off x="1374073" y="5158574"/>
            <a:ext cx="284258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actual chur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5D8DBEB-658C-4920-817A-FA23D90ED5C3}"/>
              </a:ext>
            </a:extLst>
          </p:cNvPr>
          <p:cNvSpPr/>
          <p:nvPr/>
        </p:nvSpPr>
        <p:spPr bwMode="auto">
          <a:xfrm>
            <a:off x="1374073" y="5615066"/>
            <a:ext cx="284258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Impact of migration on chur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D7217AD-663D-4483-B1E3-FB3E3E6D8637}"/>
              </a:ext>
            </a:extLst>
          </p:cNvPr>
          <p:cNvSpPr/>
          <p:nvPr/>
        </p:nvSpPr>
        <p:spPr bwMode="auto">
          <a:xfrm>
            <a:off x="1374073" y="4695392"/>
            <a:ext cx="284258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natural chur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885AE02-A33D-4698-BA10-70D2C2E7B2DA}"/>
              </a:ext>
            </a:extLst>
          </p:cNvPr>
          <p:cNvSpPr/>
          <p:nvPr/>
        </p:nvSpPr>
        <p:spPr bwMode="auto">
          <a:xfrm>
            <a:off x="4325908" y="4232210"/>
            <a:ext cx="1044341" cy="2231714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26202F-49D0-4920-A100-C2D2A5C0F672}"/>
              </a:ext>
            </a:extLst>
          </p:cNvPr>
          <p:cNvSpPr/>
          <p:nvPr/>
        </p:nvSpPr>
        <p:spPr bwMode="auto">
          <a:xfrm>
            <a:off x="5479495" y="4232210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62,683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6961E38-F0B5-44D7-AE8A-2E79A6147CBB}"/>
              </a:ext>
            </a:extLst>
          </p:cNvPr>
          <p:cNvSpPr/>
          <p:nvPr/>
        </p:nvSpPr>
        <p:spPr bwMode="auto">
          <a:xfrm>
            <a:off x="5479495" y="4695392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2,166</a:t>
            </a:r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15D93C50-C9BD-4FFA-A2B1-ABAB8D97A990}"/>
              </a:ext>
            </a:extLst>
          </p:cNvPr>
          <p:cNvCxnSpPr>
            <a:cxnSpLocks/>
            <a:stCxn id="13" idx="3"/>
            <a:endCxn id="55" idx="3"/>
          </p:cNvCxnSpPr>
          <p:nvPr/>
        </p:nvCxnSpPr>
        <p:spPr bwMode="auto">
          <a:xfrm>
            <a:off x="6523836" y="1648568"/>
            <a:ext cx="12700" cy="3244888"/>
          </a:xfrm>
          <a:prstGeom prst="bentConnector3">
            <a:avLst>
              <a:gd name="adj1" fmla="val 77417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72AFECA5-F59A-42B3-A189-3027C49F00E4}"/>
              </a:ext>
            </a:extLst>
          </p:cNvPr>
          <p:cNvSpPr>
            <a:spLocks noChangeAspect="1"/>
          </p:cNvSpPr>
          <p:nvPr/>
        </p:nvSpPr>
        <p:spPr bwMode="auto">
          <a:xfrm>
            <a:off x="7375106" y="1765256"/>
            <a:ext cx="245533" cy="245533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rebuchet MS" pitchFamily="34" charset="0"/>
              </a:rPr>
              <a:t>X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50867D98-CA56-45FC-979F-51C8D35A30C8}"/>
              </a:ext>
            </a:extLst>
          </p:cNvPr>
          <p:cNvSpPr/>
          <p:nvPr/>
        </p:nvSpPr>
        <p:spPr bwMode="auto">
          <a:xfrm>
            <a:off x="7767484" y="4313412"/>
            <a:ext cx="1346260" cy="68400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Historical churn rate in risk: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latin typeface="Trebuchet MS" pitchFamily="34" charset="0"/>
              </a:rPr>
              <a:t>3</a:t>
            </a:r>
            <a:r>
              <a:rPr kumimoji="0" lang="en-GB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.5%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F16079C-4822-48C0-BB3A-F8BF255E3026}"/>
              </a:ext>
            </a:extLst>
          </p:cNvPr>
          <p:cNvSpPr>
            <a:spLocks noChangeAspect="1"/>
          </p:cNvSpPr>
          <p:nvPr/>
        </p:nvSpPr>
        <p:spPr bwMode="auto">
          <a:xfrm>
            <a:off x="7375106" y="4532646"/>
            <a:ext cx="245533" cy="245533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rebuchet MS" pitchFamily="34" charset="0"/>
              </a:rPr>
              <a:t>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41E8F48-8D55-4E0F-9A9B-77BA76F11FE5}"/>
              </a:ext>
            </a:extLst>
          </p:cNvPr>
          <p:cNvSpPr/>
          <p:nvPr/>
        </p:nvSpPr>
        <p:spPr bwMode="auto">
          <a:xfrm>
            <a:off x="5479495" y="5157999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62,683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DE8C435-9B14-4A34-94B4-25313CFD0DA7}"/>
              </a:ext>
            </a:extLst>
          </p:cNvPr>
          <p:cNvSpPr/>
          <p:nvPr/>
        </p:nvSpPr>
        <p:spPr bwMode="auto">
          <a:xfrm>
            <a:off x="5479495" y="5609209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Trebuchet MS" pitchFamily="34" charset="0"/>
              </a:rPr>
              <a:t>-€60,517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7D43359-7107-434E-A673-5E9EF41B442D}"/>
              </a:ext>
            </a:extLst>
          </p:cNvPr>
          <p:cNvSpPr/>
          <p:nvPr/>
        </p:nvSpPr>
        <p:spPr bwMode="auto">
          <a:xfrm>
            <a:off x="1374073" y="6073460"/>
            <a:ext cx="284258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latin typeface="Trebuchet MS" pitchFamily="34" charset="0"/>
              </a:rPr>
              <a:t>Total impact on churners</a:t>
            </a:r>
            <a:endParaRPr kumimoji="0" lang="en-GB" sz="1100" b="1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7F35A63-5F94-4B0A-A0DB-FCAB4F737DB7}"/>
              </a:ext>
            </a:extLst>
          </p:cNvPr>
          <p:cNvSpPr/>
          <p:nvPr/>
        </p:nvSpPr>
        <p:spPr bwMode="auto">
          <a:xfrm>
            <a:off x="5479496" y="6072803"/>
            <a:ext cx="1044340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60,51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F174CCE-83C3-4592-957A-2C471E859B05}"/>
              </a:ext>
            </a:extLst>
          </p:cNvPr>
          <p:cNvSpPr/>
          <p:nvPr/>
        </p:nvSpPr>
        <p:spPr bwMode="auto">
          <a:xfrm>
            <a:off x="6800338" y="5321422"/>
            <a:ext cx="2873298" cy="11130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t" anchorCtr="0" compatLnSpc="1">
            <a:prstTxWarp prst="textNoShape">
              <a:avLst/>
            </a:prstTxWarp>
          </a:bodyPr>
          <a:lstStyle/>
          <a:p>
            <a:pPr marL="0" lvl="1" algn="ctr">
              <a:spcBef>
                <a:spcPts val="600"/>
              </a:spcBef>
              <a:buClr>
                <a:schemeClr val="tx1"/>
              </a:buClr>
            </a:pPr>
            <a:r>
              <a:rPr lang="en-GB" sz="1000" b="1"/>
              <a:t>Key takeaways</a:t>
            </a:r>
          </a:p>
          <a:p>
            <a:pPr marL="0" lvl="1" algn="ctr">
              <a:spcBef>
                <a:spcPts val="600"/>
              </a:spcBef>
              <a:buClr>
                <a:schemeClr val="tx1"/>
              </a:buClr>
            </a:pPr>
            <a:r>
              <a:rPr lang="en-GB" sz="1000"/>
              <a:t>In France, the </a:t>
            </a:r>
            <a:r>
              <a:rPr lang="en-GB" sz="1000">
                <a:solidFill>
                  <a:schemeClr val="tx2"/>
                </a:solidFill>
              </a:rPr>
              <a:t>migration from DBAI towards D&amp;B Credit </a:t>
            </a:r>
            <a:r>
              <a:rPr lang="en-GB" sz="1000"/>
              <a:t>had a </a:t>
            </a:r>
            <a:r>
              <a:rPr lang="en-GB" sz="1000">
                <a:solidFill>
                  <a:schemeClr val="tx2"/>
                </a:solidFill>
              </a:rPr>
              <a:t>negative impact </a:t>
            </a:r>
            <a:r>
              <a:rPr lang="en-GB" sz="1000"/>
              <a:t>on the risk line of business that is estimated at c. </a:t>
            </a:r>
            <a:r>
              <a:rPr lang="en-GB" sz="1000">
                <a:solidFill>
                  <a:schemeClr val="tx2"/>
                </a:solidFill>
              </a:rPr>
              <a:t>€700k in 2020</a:t>
            </a:r>
            <a:endParaRPr lang="en-GB" sz="1000" b="1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56" name="Groupe 3">
            <a:extLst>
              <a:ext uri="{FF2B5EF4-FFF2-40B4-BE49-F238E27FC236}">
                <a16:creationId xmlns:a16="http://schemas.microsoft.com/office/drawing/2014/main" id="{0DEA121D-4A87-40F4-89EA-E760B37161FC}"/>
              </a:ext>
            </a:extLst>
          </p:cNvPr>
          <p:cNvGrpSpPr/>
          <p:nvPr/>
        </p:nvGrpSpPr>
        <p:grpSpPr>
          <a:xfrm>
            <a:off x="8448150" y="-11528"/>
            <a:ext cx="1435548" cy="588143"/>
            <a:chOff x="8448150" y="-11528"/>
            <a:chExt cx="1435548" cy="588143"/>
          </a:xfrm>
        </p:grpSpPr>
        <p:sp>
          <p:nvSpPr>
            <p:cNvPr id="57" name="Rectangle : coins arrondis 199">
              <a:extLst>
                <a:ext uri="{FF2B5EF4-FFF2-40B4-BE49-F238E27FC236}">
                  <a16:creationId xmlns:a16="http://schemas.microsoft.com/office/drawing/2014/main" id="{B5EC13BC-7BFA-40A9-A386-FB5EC2AB0C9B}"/>
                </a:ext>
              </a:extLst>
            </p:cNvPr>
            <p:cNvSpPr/>
            <p:nvPr/>
          </p:nvSpPr>
          <p:spPr bwMode="auto">
            <a:xfrm>
              <a:off x="8508412" y="196035"/>
              <a:ext cx="335598" cy="212138"/>
            </a:xfrm>
            <a:prstGeom prst="round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Clr>
                  <a:schemeClr val="tx2"/>
                </a:buClr>
                <a:buSzPct val="90000"/>
              </a:pPr>
              <a:endParaRPr lang="en-GB" sz="1000" cap="all" spc="-1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58" name="Rectangle : coins arrondis 200">
              <a:extLst>
                <a:ext uri="{FF2B5EF4-FFF2-40B4-BE49-F238E27FC236}">
                  <a16:creationId xmlns:a16="http://schemas.microsoft.com/office/drawing/2014/main" id="{1DF5EA8C-D9CA-46C2-98E0-E6222F584234}"/>
                </a:ext>
              </a:extLst>
            </p:cNvPr>
            <p:cNvSpPr/>
            <p:nvPr/>
          </p:nvSpPr>
          <p:spPr bwMode="auto">
            <a:xfrm>
              <a:off x="8923225" y="196035"/>
              <a:ext cx="335598" cy="21213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Clr>
                  <a:schemeClr val="tx2"/>
                </a:buClr>
                <a:buSzPct val="90000"/>
              </a:pPr>
              <a:endParaRPr lang="en-GB" sz="1000" cap="all" spc="-1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60" name="Rectangle : coins arrondis 201">
              <a:extLst>
                <a:ext uri="{FF2B5EF4-FFF2-40B4-BE49-F238E27FC236}">
                  <a16:creationId xmlns:a16="http://schemas.microsoft.com/office/drawing/2014/main" id="{3446199D-7D47-46F5-8345-10D9826EBC46}"/>
                </a:ext>
              </a:extLst>
            </p:cNvPr>
            <p:cNvSpPr/>
            <p:nvPr/>
          </p:nvSpPr>
          <p:spPr bwMode="auto">
            <a:xfrm>
              <a:off x="9338038" y="196035"/>
              <a:ext cx="335598" cy="21213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buClr>
                  <a:schemeClr val="tx2"/>
                </a:buClr>
                <a:buSzPct val="90000"/>
              </a:pPr>
              <a:endParaRPr lang="en-GB" sz="1000" cap="all" spc="-1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65" name="ZoneTexte 18">
              <a:extLst>
                <a:ext uri="{FF2B5EF4-FFF2-40B4-BE49-F238E27FC236}">
                  <a16:creationId xmlns:a16="http://schemas.microsoft.com/office/drawing/2014/main" id="{115D95BF-8027-453C-B1A8-7BE93BF8C573}"/>
                </a:ext>
              </a:extLst>
            </p:cNvPr>
            <p:cNvSpPr txBox="1"/>
            <p:nvPr/>
          </p:nvSpPr>
          <p:spPr>
            <a:xfrm>
              <a:off x="8448150" y="-11528"/>
              <a:ext cx="12817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 err="1">
                  <a:solidFill>
                    <a:schemeClr val="tx2"/>
                  </a:solidFill>
                  <a:latin typeface="Trebuchet MS" panose="020B0603020202020204" pitchFamily="34" charset="0"/>
                </a:rPr>
                <a:t>Altares</a:t>
              </a:r>
              <a:r>
                <a:rPr lang="en-GB" sz="800">
                  <a:solidFill>
                    <a:schemeClr val="tx2"/>
                  </a:solidFill>
                  <a:latin typeface="Trebuchet MS" panose="020B0603020202020204" pitchFamily="34" charset="0"/>
                </a:rPr>
                <a:t>’ future growth</a:t>
              </a:r>
            </a:p>
          </p:txBody>
        </p:sp>
        <p:pic>
          <p:nvPicPr>
            <p:cNvPr id="67" name="Graphique 128" descr="Jauge">
              <a:extLst>
                <a:ext uri="{FF2B5EF4-FFF2-40B4-BE49-F238E27FC236}">
                  <a16:creationId xmlns:a16="http://schemas.microsoft.com/office/drawing/2014/main" id="{6044A743-AA66-4FAB-B4B5-411321DD1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553764" y="187516"/>
              <a:ext cx="234953" cy="218224"/>
            </a:xfrm>
            <a:prstGeom prst="rect">
              <a:avLst/>
            </a:prstGeom>
            <a:effectLst/>
          </p:spPr>
        </p:pic>
        <p:pic>
          <p:nvPicPr>
            <p:cNvPr id="69" name="Graphique 90" descr="Poignée de main">
              <a:extLst>
                <a:ext uri="{FF2B5EF4-FFF2-40B4-BE49-F238E27FC236}">
                  <a16:creationId xmlns:a16="http://schemas.microsoft.com/office/drawing/2014/main" id="{45D1892D-13F1-4E9D-8CB6-175069E42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960868" y="152880"/>
              <a:ext cx="256313" cy="287496"/>
            </a:xfrm>
            <a:prstGeom prst="rect">
              <a:avLst/>
            </a:prstGeom>
            <a:effectLst/>
          </p:spPr>
        </p:pic>
        <p:pic>
          <p:nvPicPr>
            <p:cNvPr id="70" name="Graphique 74" descr="Mégaphone">
              <a:extLst>
                <a:ext uri="{FF2B5EF4-FFF2-40B4-BE49-F238E27FC236}">
                  <a16:creationId xmlns:a16="http://schemas.microsoft.com/office/drawing/2014/main" id="{D0A791E2-243D-4E44-8A46-9DC23CD6F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389331" y="181519"/>
              <a:ext cx="233011" cy="216420"/>
            </a:xfrm>
            <a:prstGeom prst="rect">
              <a:avLst/>
            </a:prstGeom>
            <a:effectLst/>
          </p:spPr>
        </p:pic>
        <p:pic>
          <p:nvPicPr>
            <p:cNvPr id="71" name="Picture 2" descr="Drapeau France">
              <a:extLst>
                <a:ext uri="{FF2B5EF4-FFF2-40B4-BE49-F238E27FC236}">
                  <a16:creationId xmlns:a16="http://schemas.microsoft.com/office/drawing/2014/main" id="{7A81D286-4E09-4444-931C-0732521388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006" b="16757"/>
            <a:stretch/>
          </p:blipFill>
          <p:spPr bwMode="auto">
            <a:xfrm>
              <a:off x="9703696" y="62893"/>
              <a:ext cx="180002" cy="108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</p:pic>
        <p:sp>
          <p:nvSpPr>
            <p:cNvPr id="72" name="ZoneTexte 12">
              <a:extLst>
                <a:ext uri="{FF2B5EF4-FFF2-40B4-BE49-F238E27FC236}">
                  <a16:creationId xmlns:a16="http://schemas.microsoft.com/office/drawing/2014/main" id="{661AE956-582C-4647-B532-7BF42E83A994}"/>
                </a:ext>
              </a:extLst>
            </p:cNvPr>
            <p:cNvSpPr txBox="1"/>
            <p:nvPr/>
          </p:nvSpPr>
          <p:spPr>
            <a:xfrm>
              <a:off x="8448150" y="361171"/>
              <a:ext cx="12817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 i="1">
                  <a:latin typeface="Trebuchet MS" panose="020B0603020202020204" pitchFamily="34" charset="0"/>
                </a:rPr>
                <a:t>BP assessment</a:t>
              </a:r>
            </a:p>
          </p:txBody>
        </p:sp>
      </p:grp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6C49CA5D-5642-4392-941B-B081E97C1421}"/>
              </a:ext>
            </a:extLst>
          </p:cNvPr>
          <p:cNvSpPr/>
          <p:nvPr/>
        </p:nvSpPr>
        <p:spPr bwMode="auto">
          <a:xfrm rot="5400000">
            <a:off x="6596893" y="5789354"/>
            <a:ext cx="406889" cy="192875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3" name="Titre 16">
            <a:extLst>
              <a:ext uri="{FF2B5EF4-FFF2-40B4-BE49-F238E27FC236}">
                <a16:creationId xmlns:a16="http://schemas.microsoft.com/office/drawing/2014/main" id="{15044E2A-6D29-44E1-A959-27BEB80F2384}"/>
              </a:ext>
            </a:extLst>
          </p:cNvPr>
          <p:cNvSpPr txBox="1">
            <a:spLocks/>
          </p:cNvSpPr>
          <p:nvPr/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pPr marL="468000"/>
            <a:r>
              <a:rPr lang="en-GB" kern="0"/>
              <a:t>Details on the migration impact calculation for 2020 in France</a:t>
            </a:r>
            <a:endParaRPr lang="en-GB" kern="0">
              <a:solidFill>
                <a:schemeClr val="tx2"/>
              </a:solidFill>
            </a:endParaRPr>
          </a:p>
        </p:txBody>
      </p:sp>
      <p:pic>
        <p:nvPicPr>
          <p:cNvPr id="77" name="Graphic 76" descr="Magnifying glass with solid fill">
            <a:extLst>
              <a:ext uri="{FF2B5EF4-FFF2-40B4-BE49-F238E27FC236}">
                <a16:creationId xmlns:a16="http://schemas.microsoft.com/office/drawing/2014/main" id="{D91128E7-84B4-4901-8E6F-215360EAB07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>
            <a:off x="125358" y="88871"/>
            <a:ext cx="606970" cy="606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1256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>
            <a:extLst>
              <a:ext uri="{FF2B5EF4-FFF2-40B4-BE49-F238E27FC236}">
                <a16:creationId xmlns:a16="http://schemas.microsoft.com/office/drawing/2014/main" id="{74AC3B4F-850A-4E3E-81F6-9C9FA9B887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416" imgH="423" progId="TCLayout.ActiveDocument.1">
                  <p:embed/>
                </p:oleObj>
              </mc:Choice>
              <mc:Fallback>
                <p:oleObj name="think-cell Slide" r:id="rId4" imgW="416" imgH="423" progId="TCLayout.ActiveDocument.1">
                  <p:embed/>
                  <p:pic>
                    <p:nvPicPr>
                      <p:cNvPr id="61" name="Object 60" hidden="1">
                        <a:extLst>
                          <a:ext uri="{FF2B5EF4-FFF2-40B4-BE49-F238E27FC236}">
                            <a16:creationId xmlns:a16="http://schemas.microsoft.com/office/drawing/2014/main" id="{74AC3B4F-850A-4E3E-81F6-9C9FA9B88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948E24-D7C7-4DB0-A16A-05385A04EF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Sources: BP Management, interviews with management, company data, eleven research &amp; analys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232C87-A483-4737-984D-DA0529E09521}"/>
              </a:ext>
            </a:extLst>
          </p:cNvPr>
          <p:cNvSpPr/>
          <p:nvPr/>
        </p:nvSpPr>
        <p:spPr bwMode="auto">
          <a:xfrm>
            <a:off x="4565001" y="958293"/>
            <a:ext cx="1044341" cy="396127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DBAI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2D2116-5F6F-4058-B1CB-1EE9B17027C1}"/>
              </a:ext>
            </a:extLst>
          </p:cNvPr>
          <p:cNvSpPr/>
          <p:nvPr/>
        </p:nvSpPr>
        <p:spPr bwMode="auto">
          <a:xfrm>
            <a:off x="5715146" y="958293"/>
            <a:ext cx="1044341" cy="396127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DNB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537AE5-2EE2-4FC4-914D-BD57B43566C1}"/>
              </a:ext>
            </a:extLst>
          </p:cNvPr>
          <p:cNvSpPr/>
          <p:nvPr/>
        </p:nvSpPr>
        <p:spPr bwMode="auto">
          <a:xfrm>
            <a:off x="129037" y="1412789"/>
            <a:ext cx="1044341" cy="267559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2019 LFL customers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FEDCC6-CDD4-440D-829C-B12D4E322611}"/>
              </a:ext>
            </a:extLst>
          </p:cNvPr>
          <p:cNvSpPr/>
          <p:nvPr/>
        </p:nvSpPr>
        <p:spPr bwMode="auto">
          <a:xfrm>
            <a:off x="3414856" y="958293"/>
            <a:ext cx="1044341" cy="396127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D&amp;B Credit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21F37D-6FAA-4CC9-A2AD-E6AF9A9D2990}"/>
              </a:ext>
            </a:extLst>
          </p:cNvPr>
          <p:cNvSpPr/>
          <p:nvPr/>
        </p:nvSpPr>
        <p:spPr bwMode="auto">
          <a:xfrm>
            <a:off x="1320111" y="1412789"/>
            <a:ext cx="1944458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2019 b</a:t>
            </a:r>
            <a:r>
              <a:rPr lang="en-GB" sz="1100">
                <a:latin typeface="Trebuchet MS" pitchFamily="34" charset="0"/>
              </a:rPr>
              <a:t>ooking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92016C-9302-4C65-ACBA-525935D53E1F}"/>
              </a:ext>
            </a:extLst>
          </p:cNvPr>
          <p:cNvSpPr/>
          <p:nvPr/>
        </p:nvSpPr>
        <p:spPr bwMode="auto">
          <a:xfrm>
            <a:off x="1320110" y="1868081"/>
            <a:ext cx="1944457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booking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with</a:t>
            </a:r>
            <a:r>
              <a:rPr lang="en-GB" sz="1100">
                <a:latin typeface="Trebuchet MS" pitchFamily="34" charset="0"/>
              </a:rPr>
              <a:t>out migratio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846859-3C5E-45F5-8CEA-4BF842383A7A}"/>
              </a:ext>
            </a:extLst>
          </p:cNvPr>
          <p:cNvSpPr/>
          <p:nvPr/>
        </p:nvSpPr>
        <p:spPr bwMode="auto">
          <a:xfrm>
            <a:off x="1320111" y="2324573"/>
            <a:ext cx="1944456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actual booking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E38945-D418-48AA-BB80-273D739DAC13}"/>
              </a:ext>
            </a:extLst>
          </p:cNvPr>
          <p:cNvSpPr/>
          <p:nvPr/>
        </p:nvSpPr>
        <p:spPr bwMode="auto">
          <a:xfrm>
            <a:off x="4565001" y="1412789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6,815,11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DF7F41-EBF3-46D9-BAE1-6581E5D484A9}"/>
              </a:ext>
            </a:extLst>
          </p:cNvPr>
          <p:cNvSpPr/>
          <p:nvPr/>
        </p:nvSpPr>
        <p:spPr bwMode="auto">
          <a:xfrm>
            <a:off x="5715146" y="1412789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3,039,62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1E50DF-0252-484B-BA90-34F08E1AACED}"/>
              </a:ext>
            </a:extLst>
          </p:cNvPr>
          <p:cNvSpPr/>
          <p:nvPr/>
        </p:nvSpPr>
        <p:spPr bwMode="auto">
          <a:xfrm>
            <a:off x="4565001" y="1868081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5,179,48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784478-7EB4-4BF0-A9F6-05ECCD1688B2}"/>
              </a:ext>
            </a:extLst>
          </p:cNvPr>
          <p:cNvSpPr/>
          <p:nvPr/>
        </p:nvSpPr>
        <p:spPr bwMode="auto">
          <a:xfrm>
            <a:off x="5715146" y="1868081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2,310,115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E65EC8A9-8C68-492F-B647-03734EEAED94}"/>
              </a:ext>
            </a:extLst>
          </p:cNvPr>
          <p:cNvCxnSpPr>
            <a:cxnSpLocks/>
            <a:stCxn id="14" idx="3"/>
            <a:endCxn id="16" idx="3"/>
          </p:cNvCxnSpPr>
          <p:nvPr/>
        </p:nvCxnSpPr>
        <p:spPr bwMode="auto">
          <a:xfrm>
            <a:off x="6759487" y="1610853"/>
            <a:ext cx="12700" cy="455292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DA92709-5D4D-46C9-9368-0574742BD62B}"/>
              </a:ext>
            </a:extLst>
          </p:cNvPr>
          <p:cNvSpPr/>
          <p:nvPr/>
        </p:nvSpPr>
        <p:spPr bwMode="auto">
          <a:xfrm>
            <a:off x="7504411" y="1489094"/>
            <a:ext cx="1346260" cy="68400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Historical </a:t>
            </a:r>
            <a:r>
              <a:rPr lang="en-GB" sz="1100" err="1">
                <a:latin typeface="Trebuchet MS" pitchFamily="34" charset="0"/>
              </a:rPr>
              <a:t>renewall</a:t>
            </a:r>
            <a:r>
              <a:rPr lang="en-GB" sz="1100">
                <a:latin typeface="Trebuchet MS" pitchFamily="34" charset="0"/>
              </a:rPr>
              <a:t> rate excl. DBI: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76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34F8C34-BE76-40CB-88FA-1EC2165DC6C2}"/>
              </a:ext>
            </a:extLst>
          </p:cNvPr>
          <p:cNvSpPr/>
          <p:nvPr/>
        </p:nvSpPr>
        <p:spPr bwMode="auto">
          <a:xfrm>
            <a:off x="4565001" y="2324573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1A8D07A-5C6A-4851-BC4B-B3FCA79D51FA}"/>
              </a:ext>
            </a:extLst>
          </p:cNvPr>
          <p:cNvSpPr/>
          <p:nvPr/>
        </p:nvSpPr>
        <p:spPr bwMode="auto">
          <a:xfrm>
            <a:off x="5715146" y="2324573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F14BD07-6DD5-42B4-8178-0D33D7F4FEBA}"/>
              </a:ext>
            </a:extLst>
          </p:cNvPr>
          <p:cNvSpPr/>
          <p:nvPr/>
        </p:nvSpPr>
        <p:spPr bwMode="auto">
          <a:xfrm>
            <a:off x="1320110" y="2780465"/>
            <a:ext cx="1944455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New bookings from existing customer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AE54605-08AD-4F53-87E6-590F28734F81}"/>
              </a:ext>
            </a:extLst>
          </p:cNvPr>
          <p:cNvSpPr/>
          <p:nvPr/>
        </p:nvSpPr>
        <p:spPr bwMode="auto">
          <a:xfrm>
            <a:off x="3414856" y="2780465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4,588,27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DF3BEF-4A69-4AC1-B4B6-7ABE0D474C98}"/>
              </a:ext>
            </a:extLst>
          </p:cNvPr>
          <p:cNvSpPr/>
          <p:nvPr/>
        </p:nvSpPr>
        <p:spPr bwMode="auto">
          <a:xfrm>
            <a:off x="1320111" y="3236357"/>
            <a:ext cx="194445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Impact of migration on LFL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63B431-ACEE-4C67-9BC1-30A4FBBF45CA}"/>
              </a:ext>
            </a:extLst>
          </p:cNvPr>
          <p:cNvSpPr/>
          <p:nvPr/>
        </p:nvSpPr>
        <p:spPr bwMode="auto">
          <a:xfrm>
            <a:off x="4565001" y="3236357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Trebuchet MS" pitchFamily="34" charset="0"/>
              </a:rPr>
              <a:t>-€5,179,484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01FF278-67F7-427E-A1B7-7C82DEDF5B69}"/>
              </a:ext>
            </a:extLst>
          </p:cNvPr>
          <p:cNvSpPr/>
          <p:nvPr/>
        </p:nvSpPr>
        <p:spPr bwMode="auto">
          <a:xfrm>
            <a:off x="5715146" y="3236357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Trebuchet MS" pitchFamily="34" charset="0"/>
              </a:rPr>
              <a:t>-€2,390,15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6A34723-970C-4C77-8780-AA6B8B1CD8C6}"/>
              </a:ext>
            </a:extLst>
          </p:cNvPr>
          <p:cNvSpPr/>
          <p:nvPr/>
        </p:nvSpPr>
        <p:spPr bwMode="auto">
          <a:xfrm>
            <a:off x="3414856" y="3236357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rebuchet MS" pitchFamily="34" charset="0"/>
              </a:rPr>
              <a:t>+€4,588,27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904EE5-6D40-4226-8199-12E35B957EE8}"/>
              </a:ext>
            </a:extLst>
          </p:cNvPr>
          <p:cNvSpPr/>
          <p:nvPr/>
        </p:nvSpPr>
        <p:spPr bwMode="auto">
          <a:xfrm>
            <a:off x="3411414" y="1412789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DF87E3A-40F2-4893-A76F-1981907A5171}"/>
              </a:ext>
            </a:extLst>
          </p:cNvPr>
          <p:cNvSpPr/>
          <p:nvPr/>
        </p:nvSpPr>
        <p:spPr bwMode="auto">
          <a:xfrm>
            <a:off x="3411414" y="1868081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2FB87B-932B-4789-A6CF-DDA6CA12390D}"/>
              </a:ext>
            </a:extLst>
          </p:cNvPr>
          <p:cNvSpPr/>
          <p:nvPr/>
        </p:nvSpPr>
        <p:spPr bwMode="auto">
          <a:xfrm>
            <a:off x="3411414" y="2324573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1048D8-B696-42DF-8F2E-22F2444B1C63}"/>
              </a:ext>
            </a:extLst>
          </p:cNvPr>
          <p:cNvSpPr/>
          <p:nvPr/>
        </p:nvSpPr>
        <p:spPr bwMode="auto">
          <a:xfrm>
            <a:off x="4565001" y="2780465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4C3C2E6-FB88-49C6-AB4C-7D24BDA1BB28}"/>
              </a:ext>
            </a:extLst>
          </p:cNvPr>
          <p:cNvSpPr/>
          <p:nvPr/>
        </p:nvSpPr>
        <p:spPr bwMode="auto">
          <a:xfrm>
            <a:off x="5715145" y="2780465"/>
            <a:ext cx="1044341" cy="396127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F0E5BDC-690E-4FE8-93EC-BDEC81BE0B5F}"/>
              </a:ext>
            </a:extLst>
          </p:cNvPr>
          <p:cNvSpPr/>
          <p:nvPr/>
        </p:nvSpPr>
        <p:spPr bwMode="auto">
          <a:xfrm>
            <a:off x="1320111" y="3692251"/>
            <a:ext cx="1944454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latin typeface="Trebuchet MS" pitchFamily="34" charset="0"/>
              </a:rPr>
              <a:t>Total impact on LFL customers</a:t>
            </a:r>
            <a:endParaRPr kumimoji="0" lang="en-GB" sz="1100" b="1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4BB47DB-3661-471A-8D8F-11DE084EA259}"/>
              </a:ext>
            </a:extLst>
          </p:cNvPr>
          <p:cNvSpPr/>
          <p:nvPr/>
        </p:nvSpPr>
        <p:spPr bwMode="auto">
          <a:xfrm>
            <a:off x="3414856" y="3692251"/>
            <a:ext cx="3344630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2,981,365</a:t>
            </a:r>
          </a:p>
        </p:txBody>
      </p:sp>
      <p:sp>
        <p:nvSpPr>
          <p:cNvPr id="40" name="Speech Bubble: Rectangle 39">
            <a:extLst>
              <a:ext uri="{FF2B5EF4-FFF2-40B4-BE49-F238E27FC236}">
                <a16:creationId xmlns:a16="http://schemas.microsoft.com/office/drawing/2014/main" id="{4590F0FF-C4AC-4233-97B0-15E1CBFCA0B4}"/>
              </a:ext>
            </a:extLst>
          </p:cNvPr>
          <p:cNvSpPr/>
          <p:nvPr/>
        </p:nvSpPr>
        <p:spPr bwMode="auto">
          <a:xfrm>
            <a:off x="1437621" y="850176"/>
            <a:ext cx="1633138" cy="434177"/>
          </a:xfrm>
          <a:prstGeom prst="wedgeRectCallout">
            <a:avLst>
              <a:gd name="adj1" fmla="val 80677"/>
              <a:gd name="adj2" fmla="val 35956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Including shared bucket related to D&amp;B Credi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3C4FD8F-7704-4EB8-8E13-8AE1636842D5}"/>
              </a:ext>
            </a:extLst>
          </p:cNvPr>
          <p:cNvSpPr/>
          <p:nvPr/>
        </p:nvSpPr>
        <p:spPr bwMode="auto">
          <a:xfrm>
            <a:off x="129033" y="4194496"/>
            <a:ext cx="1044341" cy="2237376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solidFill>
                  <a:schemeClr val="bg1"/>
                </a:solidFill>
                <a:latin typeface="Trebuchet MS" pitchFamily="34" charset="0"/>
              </a:rPr>
              <a:t>2020 Churner customers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0D9DDC4-A520-45C6-91FD-127BDBB6B488}"/>
              </a:ext>
            </a:extLst>
          </p:cNvPr>
          <p:cNvSpPr/>
          <p:nvPr/>
        </p:nvSpPr>
        <p:spPr bwMode="auto">
          <a:xfrm>
            <a:off x="1320107" y="4194496"/>
            <a:ext cx="1944458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2019 b</a:t>
            </a:r>
            <a:r>
              <a:rPr lang="en-GB" sz="1100">
                <a:latin typeface="Trebuchet MS" pitchFamily="34" charset="0"/>
              </a:rPr>
              <a:t>ookings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A41023A-5382-4D49-9A91-8F026E1C452D}"/>
              </a:ext>
            </a:extLst>
          </p:cNvPr>
          <p:cNvSpPr/>
          <p:nvPr/>
        </p:nvSpPr>
        <p:spPr bwMode="auto">
          <a:xfrm>
            <a:off x="1320106" y="5120859"/>
            <a:ext cx="1944456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actual chur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5D8DBEB-658C-4920-817A-FA23D90ED5C3}"/>
              </a:ext>
            </a:extLst>
          </p:cNvPr>
          <p:cNvSpPr/>
          <p:nvPr/>
        </p:nvSpPr>
        <p:spPr bwMode="auto">
          <a:xfrm>
            <a:off x="1320106" y="5577351"/>
            <a:ext cx="1944456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Impact of migration on chur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D7217AD-663D-4483-B1E3-FB3E3E6D8637}"/>
              </a:ext>
            </a:extLst>
          </p:cNvPr>
          <p:cNvSpPr/>
          <p:nvPr/>
        </p:nvSpPr>
        <p:spPr bwMode="auto">
          <a:xfrm>
            <a:off x="1320106" y="4657677"/>
            <a:ext cx="1944456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2020 natural churn</a:t>
            </a:r>
            <a:endParaRPr kumimoji="0" lang="en-GB" sz="11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885AE02-A33D-4698-BA10-70D2C2E7B2DA}"/>
              </a:ext>
            </a:extLst>
          </p:cNvPr>
          <p:cNvSpPr/>
          <p:nvPr/>
        </p:nvSpPr>
        <p:spPr bwMode="auto">
          <a:xfrm>
            <a:off x="3411414" y="4194495"/>
            <a:ext cx="1044341" cy="2231714"/>
          </a:xfrm>
          <a:prstGeom prst="rect">
            <a:avLst/>
          </a:prstGeom>
          <a:pattFill prst="ltDnDiag">
            <a:fgClr>
              <a:schemeClr val="tx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26202F-49D0-4920-A100-C2D2A5C0F672}"/>
              </a:ext>
            </a:extLst>
          </p:cNvPr>
          <p:cNvSpPr/>
          <p:nvPr/>
        </p:nvSpPr>
        <p:spPr bwMode="auto">
          <a:xfrm>
            <a:off x="4565001" y="4194495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€495,723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52DCCD1-6379-4ECF-9675-B08567684103}"/>
              </a:ext>
            </a:extLst>
          </p:cNvPr>
          <p:cNvSpPr/>
          <p:nvPr/>
        </p:nvSpPr>
        <p:spPr bwMode="auto">
          <a:xfrm>
            <a:off x="5715146" y="4194495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100">
                <a:latin typeface="Trebuchet MS" pitchFamily="34" charset="0"/>
              </a:rPr>
              <a:t>€95,425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6961E38-F0B5-44D7-AE8A-2E79A6147CBB}"/>
              </a:ext>
            </a:extLst>
          </p:cNvPr>
          <p:cNvSpPr/>
          <p:nvPr/>
        </p:nvSpPr>
        <p:spPr bwMode="auto">
          <a:xfrm>
            <a:off x="4565001" y="4657677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27,180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FA74904-8A51-47FF-ABDB-B0108EABA69A}"/>
              </a:ext>
            </a:extLst>
          </p:cNvPr>
          <p:cNvSpPr/>
          <p:nvPr/>
        </p:nvSpPr>
        <p:spPr bwMode="auto">
          <a:xfrm>
            <a:off x="5715146" y="4657677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100">
                <a:latin typeface="Trebuchet MS" pitchFamily="34" charset="0"/>
              </a:rPr>
              <a:t>-€5,232</a:t>
            </a:r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15D93C50-C9BD-4FFA-A2B1-ABAB8D97A990}"/>
              </a:ext>
            </a:extLst>
          </p:cNvPr>
          <p:cNvCxnSpPr>
            <a:cxnSpLocks/>
            <a:stCxn id="14" idx="3"/>
            <a:endCxn id="56" idx="3"/>
          </p:cNvCxnSpPr>
          <p:nvPr/>
        </p:nvCxnSpPr>
        <p:spPr bwMode="auto">
          <a:xfrm>
            <a:off x="6759487" y="1610853"/>
            <a:ext cx="12700" cy="3244888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72AFECA5-F59A-42B3-A189-3027C49F00E4}"/>
              </a:ext>
            </a:extLst>
          </p:cNvPr>
          <p:cNvSpPr>
            <a:spLocks noChangeAspect="1"/>
          </p:cNvSpPr>
          <p:nvPr/>
        </p:nvSpPr>
        <p:spPr bwMode="auto">
          <a:xfrm>
            <a:off x="7112033" y="1708328"/>
            <a:ext cx="245533" cy="245533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rebuchet MS" pitchFamily="34" charset="0"/>
              </a:rPr>
              <a:t>X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50867D98-CA56-45FC-979F-51C8D35A30C8}"/>
              </a:ext>
            </a:extLst>
          </p:cNvPr>
          <p:cNvSpPr/>
          <p:nvPr/>
        </p:nvSpPr>
        <p:spPr bwMode="auto">
          <a:xfrm>
            <a:off x="7504411" y="4256484"/>
            <a:ext cx="1346260" cy="68400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>
                <a:latin typeface="Trebuchet MS" pitchFamily="34" charset="0"/>
              </a:rPr>
              <a:t>Historical churn rate in risk: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5.5%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F16079C-4822-48C0-BB3A-F8BF255E3026}"/>
              </a:ext>
            </a:extLst>
          </p:cNvPr>
          <p:cNvSpPr>
            <a:spLocks noChangeAspect="1"/>
          </p:cNvSpPr>
          <p:nvPr/>
        </p:nvSpPr>
        <p:spPr bwMode="auto">
          <a:xfrm>
            <a:off x="7112033" y="4475718"/>
            <a:ext cx="245533" cy="245533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rebuchet MS" pitchFamily="34" charset="0"/>
              </a:rPr>
              <a:t>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41E8F48-8D55-4E0F-9A9B-77BA76F11FE5}"/>
              </a:ext>
            </a:extLst>
          </p:cNvPr>
          <p:cNvSpPr/>
          <p:nvPr/>
        </p:nvSpPr>
        <p:spPr bwMode="auto">
          <a:xfrm>
            <a:off x="4565001" y="5120284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495,723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DFE2935-AD4A-4D93-BA5D-7D216DC9A695}"/>
              </a:ext>
            </a:extLst>
          </p:cNvPr>
          <p:cNvSpPr/>
          <p:nvPr/>
        </p:nvSpPr>
        <p:spPr bwMode="auto">
          <a:xfrm>
            <a:off x="5715146" y="5120284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100">
                <a:latin typeface="Trebuchet MS" pitchFamily="34" charset="0"/>
              </a:rPr>
              <a:t>-€95,425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DE8C435-9B14-4A34-94B4-25313CFD0DA7}"/>
              </a:ext>
            </a:extLst>
          </p:cNvPr>
          <p:cNvSpPr/>
          <p:nvPr/>
        </p:nvSpPr>
        <p:spPr bwMode="auto">
          <a:xfrm>
            <a:off x="4565001" y="5571494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Trebuchet MS" pitchFamily="34" charset="0"/>
              </a:rPr>
              <a:t>-€468,543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DD121B2-5364-445F-B2CA-8FC88D64966B}"/>
              </a:ext>
            </a:extLst>
          </p:cNvPr>
          <p:cNvSpPr/>
          <p:nvPr/>
        </p:nvSpPr>
        <p:spPr bwMode="auto">
          <a:xfrm>
            <a:off x="5715146" y="5571494"/>
            <a:ext cx="1044341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100">
                <a:solidFill>
                  <a:srgbClr val="FF0000"/>
                </a:solidFill>
                <a:latin typeface="Trebuchet MS" pitchFamily="34" charset="0"/>
              </a:rPr>
              <a:t>-€90,193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7D43359-7107-434E-A673-5E9EF41B442D}"/>
              </a:ext>
            </a:extLst>
          </p:cNvPr>
          <p:cNvSpPr/>
          <p:nvPr/>
        </p:nvSpPr>
        <p:spPr bwMode="auto">
          <a:xfrm>
            <a:off x="1320106" y="6035745"/>
            <a:ext cx="1944456" cy="396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>
                <a:latin typeface="Trebuchet MS" pitchFamily="34" charset="0"/>
              </a:rPr>
              <a:t>Total impact on churners</a:t>
            </a:r>
            <a:endParaRPr kumimoji="0" lang="en-GB" sz="1100" b="1" i="0" u="none" strike="noStrike" cap="none" normalizeH="0" baseline="0">
              <a:ln>
                <a:noFill/>
              </a:ln>
              <a:effectLst/>
              <a:latin typeface="Trebuchet MS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7F35A63-5F94-4B0A-A0DB-FCAB4F737DB7}"/>
              </a:ext>
            </a:extLst>
          </p:cNvPr>
          <p:cNvSpPr/>
          <p:nvPr/>
        </p:nvSpPr>
        <p:spPr bwMode="auto">
          <a:xfrm>
            <a:off x="4565001" y="6035088"/>
            <a:ext cx="2194485" cy="3961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>
                <a:ln>
                  <a:noFill/>
                </a:ln>
                <a:effectLst/>
                <a:latin typeface="Trebuchet MS" pitchFamily="34" charset="0"/>
              </a:rPr>
              <a:t>-€558,736</a:t>
            </a:r>
          </a:p>
        </p:txBody>
      </p:sp>
      <p:sp>
        <p:nvSpPr>
          <p:cNvPr id="72" name="Rectangle : coins arrondis 199">
            <a:extLst>
              <a:ext uri="{FF2B5EF4-FFF2-40B4-BE49-F238E27FC236}">
                <a16:creationId xmlns:a16="http://schemas.microsoft.com/office/drawing/2014/main" id="{9E681D94-852B-4856-A01C-95C0A3E01EAF}"/>
              </a:ext>
            </a:extLst>
          </p:cNvPr>
          <p:cNvSpPr/>
          <p:nvPr/>
        </p:nvSpPr>
        <p:spPr bwMode="auto">
          <a:xfrm>
            <a:off x="8508412" y="196035"/>
            <a:ext cx="335598" cy="21213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3" name="Rectangle : coins arrondis 200">
            <a:extLst>
              <a:ext uri="{FF2B5EF4-FFF2-40B4-BE49-F238E27FC236}">
                <a16:creationId xmlns:a16="http://schemas.microsoft.com/office/drawing/2014/main" id="{2002C6DA-CFA7-4568-9CB8-0D5C1BFE780D}"/>
              </a:ext>
            </a:extLst>
          </p:cNvPr>
          <p:cNvSpPr/>
          <p:nvPr/>
        </p:nvSpPr>
        <p:spPr bwMode="auto">
          <a:xfrm>
            <a:off x="8923225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5" name="Rectangle : coins arrondis 201">
            <a:extLst>
              <a:ext uri="{FF2B5EF4-FFF2-40B4-BE49-F238E27FC236}">
                <a16:creationId xmlns:a16="http://schemas.microsoft.com/office/drawing/2014/main" id="{9DA00D96-902C-4D4E-A14D-8ECF9977D671}"/>
              </a:ext>
            </a:extLst>
          </p:cNvPr>
          <p:cNvSpPr/>
          <p:nvPr/>
        </p:nvSpPr>
        <p:spPr bwMode="auto">
          <a:xfrm>
            <a:off x="9338038" y="196035"/>
            <a:ext cx="335598" cy="2121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Clr>
                <a:schemeClr val="tx2"/>
              </a:buClr>
              <a:buSzPct val="90000"/>
            </a:pPr>
            <a:endParaRPr lang="en-GB" sz="1000" cap="all" spc="-1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6" name="ZoneTexte 18">
            <a:extLst>
              <a:ext uri="{FF2B5EF4-FFF2-40B4-BE49-F238E27FC236}">
                <a16:creationId xmlns:a16="http://schemas.microsoft.com/office/drawing/2014/main" id="{8A4B4D3E-DC9E-4AFC-BD14-864A435CA00F}"/>
              </a:ext>
            </a:extLst>
          </p:cNvPr>
          <p:cNvSpPr txBox="1"/>
          <p:nvPr/>
        </p:nvSpPr>
        <p:spPr>
          <a:xfrm>
            <a:off x="8448150" y="-11528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err="1">
                <a:solidFill>
                  <a:schemeClr val="tx2"/>
                </a:solidFill>
                <a:latin typeface="Trebuchet MS" panose="020B0603020202020204" pitchFamily="34" charset="0"/>
              </a:rPr>
              <a:t>Altares</a:t>
            </a:r>
            <a:r>
              <a:rPr lang="en-GB" sz="800">
                <a:solidFill>
                  <a:schemeClr val="tx2"/>
                </a:solidFill>
                <a:latin typeface="Trebuchet MS" panose="020B0603020202020204" pitchFamily="34" charset="0"/>
              </a:rPr>
              <a:t>’ future growth</a:t>
            </a:r>
          </a:p>
        </p:txBody>
      </p:sp>
      <p:pic>
        <p:nvPicPr>
          <p:cNvPr id="77" name="Graphique 128" descr="Jauge">
            <a:extLst>
              <a:ext uri="{FF2B5EF4-FFF2-40B4-BE49-F238E27FC236}">
                <a16:creationId xmlns:a16="http://schemas.microsoft.com/office/drawing/2014/main" id="{4BA0284C-C2BA-49F3-9194-8A2C090EE6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53764" y="187516"/>
            <a:ext cx="234953" cy="218224"/>
          </a:xfrm>
          <a:prstGeom prst="rect">
            <a:avLst/>
          </a:prstGeom>
          <a:effectLst/>
        </p:spPr>
      </p:pic>
      <p:pic>
        <p:nvPicPr>
          <p:cNvPr id="78" name="Graphique 90" descr="Poignée de main">
            <a:extLst>
              <a:ext uri="{FF2B5EF4-FFF2-40B4-BE49-F238E27FC236}">
                <a16:creationId xmlns:a16="http://schemas.microsoft.com/office/drawing/2014/main" id="{11A930A8-8394-4A88-BFE1-8D93E2E5F4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60868" y="152880"/>
            <a:ext cx="256313" cy="287496"/>
          </a:xfrm>
          <a:prstGeom prst="rect">
            <a:avLst/>
          </a:prstGeom>
          <a:effectLst/>
        </p:spPr>
      </p:pic>
      <p:pic>
        <p:nvPicPr>
          <p:cNvPr id="79" name="Graphique 74" descr="Mégaphone">
            <a:extLst>
              <a:ext uri="{FF2B5EF4-FFF2-40B4-BE49-F238E27FC236}">
                <a16:creationId xmlns:a16="http://schemas.microsoft.com/office/drawing/2014/main" id="{DD9AC742-138D-427C-BAEA-9235E6A3D9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89331" y="181519"/>
            <a:ext cx="233011" cy="216420"/>
          </a:xfrm>
          <a:prstGeom prst="rect">
            <a:avLst/>
          </a:prstGeom>
          <a:effectLst/>
        </p:spPr>
      </p:pic>
      <p:sp>
        <p:nvSpPr>
          <p:cNvPr id="81" name="ZoneTexte 12">
            <a:extLst>
              <a:ext uri="{FF2B5EF4-FFF2-40B4-BE49-F238E27FC236}">
                <a16:creationId xmlns:a16="http://schemas.microsoft.com/office/drawing/2014/main" id="{217AA2B6-DF4E-4C89-AF8B-DEDCBA343EF2}"/>
              </a:ext>
            </a:extLst>
          </p:cNvPr>
          <p:cNvSpPr txBox="1"/>
          <p:nvPr/>
        </p:nvSpPr>
        <p:spPr>
          <a:xfrm>
            <a:off x="8448150" y="361171"/>
            <a:ext cx="128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latin typeface="Trebuchet MS" panose="020B0603020202020204" pitchFamily="34" charset="0"/>
              </a:rPr>
              <a:t>BP assessmen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6A6420D-480A-48E1-B3DA-AE2451B7A22D}"/>
              </a:ext>
            </a:extLst>
          </p:cNvPr>
          <p:cNvSpPr/>
          <p:nvPr/>
        </p:nvSpPr>
        <p:spPr bwMode="auto">
          <a:xfrm>
            <a:off x="6903571" y="5313183"/>
            <a:ext cx="2873298" cy="11130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45720" rIns="144000" bIns="45720" numCol="1" rtlCol="0" anchor="t" anchorCtr="0" compatLnSpc="1">
            <a:prstTxWarp prst="textNoShape">
              <a:avLst/>
            </a:prstTxWarp>
          </a:bodyPr>
          <a:lstStyle/>
          <a:p>
            <a:pPr marL="0" lvl="1" algn="ctr">
              <a:spcBef>
                <a:spcPts val="600"/>
              </a:spcBef>
              <a:buClr>
                <a:schemeClr val="tx1"/>
              </a:buClr>
            </a:pPr>
            <a:r>
              <a:rPr lang="en-GB" sz="1000" b="1"/>
              <a:t>Key takeaways</a:t>
            </a:r>
          </a:p>
          <a:p>
            <a:pPr marL="0" lvl="1" algn="ctr">
              <a:spcBef>
                <a:spcPts val="600"/>
              </a:spcBef>
              <a:buClr>
                <a:schemeClr val="tx1"/>
              </a:buClr>
            </a:pPr>
            <a:r>
              <a:rPr lang="en-GB" sz="1000"/>
              <a:t>In Benelux, the </a:t>
            </a:r>
            <a:r>
              <a:rPr lang="en-GB" sz="1000">
                <a:solidFill>
                  <a:schemeClr val="tx2"/>
                </a:solidFill>
              </a:rPr>
              <a:t>migration from DBAI and </a:t>
            </a:r>
            <a:r>
              <a:rPr lang="en-GB" sz="1000" err="1">
                <a:solidFill>
                  <a:schemeClr val="tx2"/>
                </a:solidFill>
              </a:rPr>
              <a:t>DNBi</a:t>
            </a:r>
            <a:r>
              <a:rPr lang="en-GB" sz="1000">
                <a:solidFill>
                  <a:schemeClr val="tx2"/>
                </a:solidFill>
              </a:rPr>
              <a:t> towards D&amp;B Credit </a:t>
            </a:r>
            <a:r>
              <a:rPr lang="en-GB" sz="1000"/>
              <a:t>had a </a:t>
            </a:r>
            <a:r>
              <a:rPr lang="en-GB" sz="1000">
                <a:solidFill>
                  <a:schemeClr val="tx2"/>
                </a:solidFill>
              </a:rPr>
              <a:t>negative impact </a:t>
            </a:r>
            <a:r>
              <a:rPr lang="en-GB" sz="1000"/>
              <a:t>on the risk line of business that is </a:t>
            </a:r>
            <a:r>
              <a:rPr lang="en-GB" sz="1000">
                <a:solidFill>
                  <a:schemeClr val="tx2"/>
                </a:solidFill>
              </a:rPr>
              <a:t>estimated at c. €3.5m in 2020</a:t>
            </a:r>
          </a:p>
          <a:p>
            <a:pPr marL="0" lvl="1" algn="ctr">
              <a:spcBef>
                <a:spcPts val="600"/>
              </a:spcBef>
              <a:buClr>
                <a:schemeClr val="tx1"/>
              </a:buClr>
            </a:pPr>
            <a:endParaRPr lang="en-GB" sz="1000" b="1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:a16="http://schemas.microsoft.com/office/drawing/2014/main" id="{3AD535DC-DC5A-4D5F-87C6-672A7EE8A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1" y="-1084161"/>
            <a:ext cx="9540000" cy="684000"/>
          </a:xfrm>
        </p:spPr>
        <p:txBody>
          <a:bodyPr vert="horz"/>
          <a:lstStyle/>
          <a:p>
            <a:r>
              <a:rPr lang="en-GB"/>
              <a:t>In Benelux, the </a:t>
            </a:r>
            <a:r>
              <a:rPr lang="en-GB">
                <a:solidFill>
                  <a:schemeClr val="tx2"/>
                </a:solidFill>
              </a:rPr>
              <a:t>migration from DBAI and </a:t>
            </a:r>
            <a:r>
              <a:rPr lang="en-GB" err="1">
                <a:solidFill>
                  <a:schemeClr val="tx2"/>
                </a:solidFill>
              </a:rPr>
              <a:t>DNBi</a:t>
            </a:r>
            <a:r>
              <a:rPr lang="en-GB">
                <a:solidFill>
                  <a:schemeClr val="tx2"/>
                </a:solidFill>
              </a:rPr>
              <a:t> towards D&amp;B Credit </a:t>
            </a:r>
            <a:r>
              <a:rPr lang="en-GB"/>
              <a:t>had a </a:t>
            </a:r>
            <a:r>
              <a:rPr lang="en-GB">
                <a:solidFill>
                  <a:schemeClr val="tx2"/>
                </a:solidFill>
              </a:rPr>
              <a:t>negative impact </a:t>
            </a:r>
            <a:r>
              <a:rPr lang="en-GB"/>
              <a:t>on the risk line of business that is </a:t>
            </a:r>
            <a:r>
              <a:rPr lang="en-GB">
                <a:solidFill>
                  <a:schemeClr val="tx2"/>
                </a:solidFill>
              </a:rPr>
              <a:t>estimated at c. 3.5€m in 2020</a:t>
            </a:r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7C516C28-BEA6-488E-9FBF-AD194DFECDED}"/>
              </a:ext>
            </a:extLst>
          </p:cNvPr>
          <p:cNvSpPr/>
          <p:nvPr/>
        </p:nvSpPr>
        <p:spPr bwMode="auto">
          <a:xfrm rot="5400000">
            <a:off x="6750979" y="5844429"/>
            <a:ext cx="406889" cy="192875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82" name="Picture 2" descr="5 ft x 3 ft 150 x 90 cm-DRAPEAU BELGE Belgique 100% Polyester ...">
            <a:extLst>
              <a:ext uri="{FF2B5EF4-FFF2-40B4-BE49-F238E27FC236}">
                <a16:creationId xmlns:a16="http://schemas.microsoft.com/office/drawing/2014/main" id="{E3174E8B-DD09-42BD-BB3F-F11B801E7C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3"/>
          <a:stretch/>
        </p:blipFill>
        <p:spPr bwMode="auto">
          <a:xfrm>
            <a:off x="9704111" y="187304"/>
            <a:ext cx="17917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86" name="Picture 2 - 1" descr="Drapeau des Pays-Bas — Wikipédia">
            <a:extLst>
              <a:ext uri="{FF2B5EF4-FFF2-40B4-BE49-F238E27FC236}">
                <a16:creationId xmlns:a16="http://schemas.microsoft.com/office/drawing/2014/main" id="{8BF3D3C3-05F9-4A5B-87F5-615F62B2C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112" y="311715"/>
            <a:ext cx="179171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87" name="Picture 2 - 2" descr="Drapeau du Luxembourg">
            <a:extLst>
              <a:ext uri="{FF2B5EF4-FFF2-40B4-BE49-F238E27FC236}">
                <a16:creationId xmlns:a16="http://schemas.microsoft.com/office/drawing/2014/main" id="{7DB67B6A-1200-4FB1-A781-DF9C91003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3696" y="436125"/>
            <a:ext cx="180002" cy="10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80" name="Titre 16">
            <a:extLst>
              <a:ext uri="{FF2B5EF4-FFF2-40B4-BE49-F238E27FC236}">
                <a16:creationId xmlns:a16="http://schemas.microsoft.com/office/drawing/2014/main" id="{CDE41EB7-ED8C-4C7A-B6EE-8BE022D15C59}"/>
              </a:ext>
            </a:extLst>
          </p:cNvPr>
          <p:cNvSpPr txBox="1">
            <a:spLocks/>
          </p:cNvSpPr>
          <p:nvPr/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468000" eaLnBrk="1" hangingPunct="1">
              <a:defRPr sz="1600" b="0" kern="0">
                <a:latin typeface="+mj-lt"/>
                <a:ea typeface="+mj-ea"/>
                <a:cs typeface="+mj-cs"/>
              </a:defRPr>
            </a:lvl1pPr>
            <a:lvl2pPr eaLnBrk="1" hangingPunct="1">
              <a:defRPr b="1">
                <a:solidFill>
                  <a:srgbClr val="007228"/>
                </a:solidFill>
                <a:latin typeface="Trebuchet MS" pitchFamily="34" charset="0"/>
              </a:defRPr>
            </a:lvl2pPr>
            <a:lvl3pPr eaLnBrk="1" hangingPunct="1">
              <a:defRPr b="1">
                <a:solidFill>
                  <a:srgbClr val="007228"/>
                </a:solidFill>
                <a:latin typeface="Trebuchet MS" pitchFamily="34" charset="0"/>
              </a:defRPr>
            </a:lvl3pPr>
            <a:lvl4pPr eaLnBrk="1" hangingPunct="1">
              <a:defRPr b="1">
                <a:solidFill>
                  <a:srgbClr val="007228"/>
                </a:solidFill>
                <a:latin typeface="Trebuchet MS" pitchFamily="34" charset="0"/>
              </a:defRPr>
            </a:lvl4pPr>
            <a:lvl5pPr eaLnBrk="1" hangingPunct="1">
              <a:defRPr b="1">
                <a:solidFill>
                  <a:srgbClr val="007228"/>
                </a:solidFill>
                <a:latin typeface="Trebuchet MS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Trebuchet MS" pitchFamily="34" charset="0"/>
              </a:defRPr>
            </a:lvl9pPr>
          </a:lstStyle>
          <a:p>
            <a:r>
              <a:rPr lang="en-GB"/>
              <a:t>Details on the migration impact calculation for 2020 in Benelux</a:t>
            </a:r>
          </a:p>
        </p:txBody>
      </p:sp>
      <p:pic>
        <p:nvPicPr>
          <p:cNvPr id="70" name="Graphic 69" descr="Magnifying glass with solid fill">
            <a:extLst>
              <a:ext uri="{FF2B5EF4-FFF2-40B4-BE49-F238E27FC236}">
                <a16:creationId xmlns:a16="http://schemas.microsoft.com/office/drawing/2014/main" id="{4D249D43-B1FA-40C7-A867-4ED5EAC1895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25358" y="88871"/>
            <a:ext cx="606970" cy="606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22575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bX1wzy1s.8bv0IZOzp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uo_5LyX84ZlP1EEoz.x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ONELwXJz2tnglXqK03.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fRE1FUesS9kmlF.r5F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461MlB39vHDT6Zrsqb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gwxwsKOEs1eViUHLID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lElZUOFreKUfemZUrGW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s4x0DtPzu1JreWk_7ZK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bzKk019bLmRI4TZIEH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fhmJIZSsgc7Gwz8FV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6ZAwCEyW7mIydMne0j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kYGGSWzGGuvAYWWzSzW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0B8m3sr.cVgvgzKS4qj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ZK1XEQgWBwC.Ezzc6e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MwvFCHr77joZAoPf378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bGRVrPz9duxiVSIopM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RnqbmGwG9QPJkT1sQn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cS7q1m244atN7Gq74YM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HwBGhm3N1vfL.3VFn7p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l1YYisq4CfXZ2ja1OK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ndTlOnCrV80Uf4Q9InAeW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lQ70yJ75qAiVSJacGO4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98BwO2Ctsa04bVmd8iL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3hAZ.lvt5xcrN0nq9G0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IWZf3zdaQ5ONkbnlN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cINzMJmVfkVldxucBlF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eKHcBU837BeQJL.org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qhY0XBm.25cWn3N4IZo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JtRJQuUd.vwbOzxfb4I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VkXbssYobQCRjRettk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h70Cn2C_8z74K3q0Hh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UPwE80Qp9AR2MAHuGBJ2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zZpIKZJmL7REE8Y8gH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C4NoYBwegmAxInFtpjD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fWJ_PSdXlaDfIabM3W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21n9CpWvEr31J.NUCZ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QAc7cNRNcPx56eMjDD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OOHJa29HgNxtsCpBINv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72D25HuoZ4z7y4lYIO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.lC0YgGWRuGf.FQrBzg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SsmIEGZNO7fno_Xswk_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.bQlwJNG7.QInXhouR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MWWU2qOkFK3yZWz6yB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yAunDG979I6ktAcFiA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gXz2j7LhP_CR81R10T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IOScnA.tpJ90a.520o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P6i2BA2kTm8uL9urT3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aDp80BkCN9AaKmx8VOd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fL498M0Gr0XfEZb2EP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xuAEBrr3uKUCFj84P0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TrcgkuqdQuTs3_J9bh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cwx9xmesHHwVAWHJjw9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EJUMr3Y56LiapTuYfD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kxspd6InYzXS8XAfav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tAfzUWRVeIF0Nf6OHg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5nYQVDlpp5S.YDh6OE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8iIwsZP3rpp0yIZ4sC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JNjjYoNKCKaNLFjRS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obFKmnrW2Oi4mCZZQX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gwxwsKOEs1eViUHLID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CrLDGarXH3XwMJLOJ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rHO8sx7ng19jo.9OpJ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4aC7KhW3bIUrde285.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.uyJaBfN_LHMe.8Df.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lElZUOFreKUfemZUrG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mgQOO8VZl9O18F46ik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eMUxyw_1nwTgSJCI.3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P9P9joJPs4x7EYEDKs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6jz3ljwFTj5vxcDjpq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hTMrCLYn07DIE3zNPP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fRE1FUesS9kmlF.r5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3yaoXBONjiguPzmCg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TycCzDc_ZXcetv9lBD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MtM5l179X_6BQcYf7W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KRdDsxOQs1LDacz5LR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bzKk019bLmRI4TZIEH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Bdn_BZqNJp3fBR7lDW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MIMDr0eUwIgp5UEjdo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4U6vM6q7eB5FbL4hW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rOtZmqTmNPdYbUM5V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uFJu7H8E7IKIV7owSk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blUyc6LuGSO2m6wwOSU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Mq3IeYuFwgo7TLhURcb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baFHI2aj1ffuTVpUyZ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9W45XvsPLuczJawQxm5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2FZPXk5clQLN9elqjf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7xtwMGMbnNKh.IGnuW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LmoW77d2F8Pzup0Gz0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ntf0U1m.2SPiMYUhPI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1C7Sto3jQvwM82YIs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ZHZ08JGgDzo5H9MAwp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GOzdSLkKMtXAa72K13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5s6JrTVGnSyMH4a8bj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ipbq79fllAomKCGU1x1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TmIV75CzxB8j5Ckq0F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ZwzXH5GAnzGpUtBR1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jqmrMi743V3na9dCb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iD.x4FbzeAn4UkTBAA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R5m3EWVz5NclLn_Y1M3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4e_CmqcSZMr9glbpMp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viY79agnVtX1nsm4_k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_lOHTvdeCILCpgxPi5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CubunOJphJXVm5T5w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NGFzYnupBQ6pscLqnkT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shm.avBT0MLgDWPbj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ujBbcCjO8_SpE_0VHB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mfNIG8HOaZAd7e509J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TrcgkuqdQuTs3_J9bh6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tAfzUWRVeIF0Nf6OHg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kxspd6InYzXS8XAfav5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lL5IbOzD5VJ0ZOJaR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EJUMr3Y56LiapTuYfD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8iIwsZP3rpp0yIZ4sCE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rHO8sx7ng19jo.9OpJ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wKPic8SkmjSb4ZGwAZ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4aC7KhW3bIUrde285.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.uyJaBfN_LHMe.8Df..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obFKmnrW2Oi4mCZZQX_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CrLDGarXH3XwMJLOJ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p.KPBnhBA9G.LLudfPC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mgQOO8VZl9O18F46ik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ldHxqgrO4oDhewAlBc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jGJ98GMPNcXGDrIxtX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kMHU.dwRrhX1x9NrN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MHvsDsXLnsvivooxp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P8qj3g7dIZAehWwi7YD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aHP842YjqYloYR4OoUi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_AAW9sWeuwDfVc9zfYn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_EIE8uruAIDMm89boajg"/>
</p:tagLst>
</file>

<file path=ppt/theme/theme1.xml><?xml version="1.0" encoding="utf-8"?>
<a:theme xmlns:a="http://schemas.openxmlformats.org/drawingml/2006/main" name="Thème eleven V2.6">
  <a:themeElements>
    <a:clrScheme name="Eleven colors">
      <a:dk1>
        <a:srgbClr val="6C6C6C"/>
      </a:dk1>
      <a:lt1>
        <a:srgbClr val="FFFFFF"/>
      </a:lt1>
      <a:dk2>
        <a:srgbClr val="289B38"/>
      </a:dk2>
      <a:lt2>
        <a:srgbClr val="8FCD9F"/>
      </a:lt2>
      <a:accent1>
        <a:srgbClr val="00A3E2"/>
      </a:accent1>
      <a:accent2>
        <a:srgbClr val="ADD9FD"/>
      </a:accent2>
      <a:accent3>
        <a:srgbClr val="FB436A"/>
      </a:accent3>
      <a:accent4>
        <a:srgbClr val="E38C35"/>
      </a:accent4>
      <a:accent5>
        <a:srgbClr val="FFF58C"/>
      </a:accent5>
      <a:accent6>
        <a:srgbClr val="831B21"/>
      </a:accent6>
      <a:hlink>
        <a:srgbClr val="39A0DA"/>
      </a:hlink>
      <a:folHlink>
        <a:srgbClr val="646464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ème eleven V2.6" id="{F1CD0668-0377-47E3-8A7E-994C188375EA}" vid="{7F8C0379-2CE3-47C7-AD58-647B34BA74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6D72E291A89749A1020ECAEBC5DEA9" ma:contentTypeVersion="11" ma:contentTypeDescription="Crée un document." ma:contentTypeScope="" ma:versionID="aa5ba30c5a062a5428e67b02ff9df745">
  <xsd:schema xmlns:xsd="http://www.w3.org/2001/XMLSchema" xmlns:xs="http://www.w3.org/2001/XMLSchema" xmlns:p="http://schemas.microsoft.com/office/2006/metadata/properties" xmlns:ns2="2ed4a45d-0a7a-4a4c-a2e9-3c855633e740" xmlns:ns3="a46fb650-58a2-4a9d-8560-53d2df43fe90" targetNamespace="http://schemas.microsoft.com/office/2006/metadata/properties" ma:root="true" ma:fieldsID="bc267f8e322a62a15cbf2923f96b998e" ns2:_="" ns3:_="">
    <xsd:import namespace="2ed4a45d-0a7a-4a4c-a2e9-3c855633e740"/>
    <xsd:import namespace="a46fb650-58a2-4a9d-8560-53d2df43fe9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4a45d-0a7a-4a4c-a2e9-3c855633e7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6fb650-58a2-4a9d-8560-53d2df43f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A5F48A-D5DC-4A9C-B5C9-18FBA8037C77}">
  <ds:schemaRefs>
    <ds:schemaRef ds:uri="2ed4a45d-0a7a-4a4c-a2e9-3c855633e740"/>
    <ds:schemaRef ds:uri="a46fb650-58a2-4a9d-8560-53d2df43fe9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A1CE2C1-3463-4469-B56D-E8D8B8A28D7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7D5DD0-ABA8-46C2-A53F-CCD4E871B122}">
  <ds:schemaRefs>
    <ds:schemaRef ds:uri="2ed4a45d-0a7a-4a4c-a2e9-3c855633e740"/>
    <ds:schemaRef ds:uri="a46fb650-58a2-4a9d-8560-53d2df43fe9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Application>Microsoft Office PowerPoint</Application>
  <PresentationFormat>A4 Paper (210x297 mm)</PresentationFormat>
  <Slides>8</Slides>
  <Notes>0</Notes>
  <HiddenSlides>2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Thème eleven V2.6</vt:lpstr>
      <vt:lpstr>Analyses of migration impact</vt:lpstr>
      <vt:lpstr>PowerPoint Presentation</vt:lpstr>
      <vt:lpstr>In France, the migration has created an artificial decrease of DBAI billings and an artificial increase of D&amp;B Credit’s, inducing a €-700k effect for 2020 (1/2) </vt:lpstr>
      <vt:lpstr>In France, the migration has created an artificial decrease of DBAI billings and an artificial increase of D&amp;B Credit’s, inducing a €-700k effect for 2020 </vt:lpstr>
      <vt:lpstr>In Benelux, the migration has increased the churn and down-sell of DBAI and DNBi while increasing the D&amp;B Credit bookings, inducing a c. €-3.5m effect for 2020 (1/2) </vt:lpstr>
      <vt:lpstr>In Benelux, the migration has increased the churn and down-sell of DBAI and DNBi while increasing the D&amp;B Credit bookings, inducing a c. €-3.5m effect for 2020 </vt:lpstr>
      <vt:lpstr>PowerPoint Presentation</vt:lpstr>
      <vt:lpstr>In Benelux, the migration from DBAI and DNBi towards D&amp;B Credit had a negative impact on the risk line of business that is estimated at c. 3.5€m in 2020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go MANTEL</dc:creator>
  <cp:revision>1</cp:revision>
  <dcterms:created xsi:type="dcterms:W3CDTF">2021-03-05T17:12:35Z</dcterms:created>
  <dcterms:modified xsi:type="dcterms:W3CDTF">2021-03-08T15:0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6D72E291A89749A1020ECAEBC5DEA9</vt:lpwstr>
  </property>
</Properties>
</file>